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4"/>
  </p:sldMasterIdLst>
  <p:notesMasterIdLst>
    <p:notesMasterId r:id="rId18"/>
  </p:notesMasterIdLst>
  <p:sldIdLst>
    <p:sldId id="1961" r:id="rId5"/>
    <p:sldId id="2147376477" r:id="rId6"/>
    <p:sldId id="2251" r:id="rId7"/>
    <p:sldId id="2010" r:id="rId8"/>
    <p:sldId id="2147376480" r:id="rId9"/>
    <p:sldId id="2147376481" r:id="rId10"/>
    <p:sldId id="2147376482" r:id="rId11"/>
    <p:sldId id="2147376479" r:id="rId12"/>
    <p:sldId id="2147376451" r:id="rId13"/>
    <p:sldId id="2147376483" r:id="rId14"/>
    <p:sldId id="13251" r:id="rId15"/>
    <p:sldId id="13252" r:id="rId16"/>
    <p:sldId id="2147" r:id="rId17"/>
  </p:sldIdLst>
  <p:sldSz cx="9144000" cy="6858000" type="screen4x3"/>
  <p:notesSz cx="6858000" cy="9144000"/>
  <p:defaultTex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3A6DA28-BB08-4E28-94E8-AB53A02DD50B}">
  <a:tblStyle styleId="{73A6DA28-BB08-4E28-94E8-AB53A02DD50B}" styleName="VEDP Corporate">
    <a:wholeTbl>
      <a:tcTxStyle>
        <a:fontRef idx="minor"/>
        <a:schemeClr val="dk1"/>
      </a:tcTxStyle>
      <a:tcStyle>
        <a:tcBdr>
          <a:left>
            <a:ln w="0" cmpd="sng">
              <a:solidFill>
                <a:prstClr val="white"/>
              </a:solidFill>
            </a:ln>
          </a:left>
          <a:right>
            <a:ln w="0" cmpd="sng">
              <a:solidFill>
                <a:prstClr val="white"/>
              </a:solidFill>
            </a:ln>
          </a:right>
          <a:top>
            <a:ln w="12700" cmpd="sng">
              <a:solidFill>
                <a:prstClr val="black"/>
              </a:solidFill>
            </a:ln>
          </a:top>
          <a:bottom>
            <a:ln w="12700" cmpd="sng">
              <a:solidFill>
                <a:prstClr val="black"/>
              </a:solidFill>
            </a:ln>
          </a:bottom>
          <a:insideH>
            <a:ln w="3175" cmpd="sng">
              <a:solidFill>
                <a:prstClr val="black"/>
              </a:solidFill>
            </a:ln>
          </a:insideH>
          <a:insideV>
            <a:ln w="0" cmpd="sng">
              <a:solidFill>
                <a:prstClr val="white"/>
              </a:solidFill>
            </a:ln>
          </a:insideV>
        </a:tcBdr>
        <a:fill>
          <a:solidFill>
            <a:prstClr val="white"/>
          </a:solidFill>
        </a:fill>
      </a:tcStyle>
    </a:wholeTbl>
    <a:band1H>
      <a:tcStyle>
        <a:tcBdr/>
      </a:tcStyle>
    </a:band1H>
    <a:band2H>
      <a:tcStyle>
        <a:tcBdr/>
      </a:tcStyle>
    </a:band2H>
    <a:band1V>
      <a:tcStyle>
        <a:tcBdr/>
      </a:tcStyle>
    </a:band1V>
    <a:band2V>
      <a:tcStyle>
        <a:tcBdr/>
      </a:tcStyle>
    </a:band2V>
    <a:lastCol>
      <a:tcStyle>
        <a:tcBdr/>
      </a:tcStyle>
    </a:lastCol>
    <a:firstCol>
      <a:tcTxStyle b="on">
        <a:fontRef idx="minor"/>
      </a:tcTxStyle>
      <a:tcStyle>
        <a:tcBdr>
          <a:right>
            <a:ln w="3175" cmpd="sng">
              <a:solidFill>
                <a:prstClr val="black"/>
              </a:solidFill>
            </a:ln>
          </a:right>
        </a:tcBdr>
      </a:tcStyle>
    </a:firstCol>
    <a:lastRow>
      <a:tcTxStyle b="on">
        <a:fontRef idx="minor"/>
      </a:tcTxStyle>
      <a:tcStyle>
        <a:tcBdr>
          <a:top>
            <a:ln w="12700" cmpd="sng">
              <a:solidFill>
                <a:prstClr val="black"/>
              </a:solidFill>
            </a:ln>
          </a:top>
          <a:bottom>
            <a:ln w="12700" cmpd="sng">
              <a:solidFill>
                <a:prstClr val="black"/>
              </a:solidFill>
            </a:ln>
          </a:bottom>
          <a:insideV>
            <a:ln w="0" cmpd="sng">
              <a:solidFill>
                <a:prstClr val="white"/>
              </a:solidFill>
            </a:ln>
          </a:insideV>
        </a:tcBdr>
      </a:tcStyle>
    </a:lastRow>
    <a:firstRow>
      <a:tcTxStyle b="on">
        <a:fontRef idx="minor"/>
        <a:schemeClr val="accent1"/>
      </a:tcTxStyle>
      <a:tcStyle>
        <a:tcBdr>
          <a:top>
            <a:ln w="0" cmpd="sng">
              <a:solidFill>
                <a:prstClr val="white"/>
              </a:solidFill>
            </a:ln>
          </a:top>
          <a:bottom>
            <a:ln w="12700" cmpd="sng">
              <a:solidFill>
                <a:prstClr val="black"/>
              </a:solidFill>
            </a:ln>
          </a:bottom>
          <a:insideV>
            <a:ln w="0" cmpd="sng">
              <a:solidFill>
                <a:prstClr val="white"/>
              </a:solidFill>
            </a:ln>
          </a:insideV>
        </a:tcBdr>
        <a:fill>
          <a:solidFill>
            <a:prstClr val="white"/>
          </a:solidFill>
        </a:fill>
      </a:tcStyle>
    </a:firstRow>
  </a:tblStyle>
  <a:tblStyle styleId="{A650C729-9CF1-44C1-B28C-B572622A06A4}" styleName="VEDP Corporate - Shaded Rows">
    <a:wholeTbl>
      <a:tcTxStyle>
        <a:fontRef idx="minor"/>
        <a:schemeClr val="dk1"/>
      </a:tcTxStyle>
      <a:tcStyle>
        <a:tcBdr>
          <a:left>
            <a:ln w="0" cmpd="sng">
              <a:solidFill>
                <a:prstClr val="white"/>
              </a:solidFill>
            </a:ln>
          </a:left>
          <a:right>
            <a:ln w="0" cmpd="sng">
              <a:solidFill>
                <a:prstClr val="white"/>
              </a:solidFill>
            </a:ln>
          </a:right>
          <a:top>
            <a:ln w="12700" cmpd="sng">
              <a:solidFill>
                <a:prstClr val="black"/>
              </a:solidFill>
            </a:ln>
          </a:top>
          <a:bottom>
            <a:ln w="12700" cmpd="sng">
              <a:solidFill>
                <a:prstClr val="black"/>
              </a:solidFill>
            </a:ln>
          </a:bottom>
          <a:insideH>
            <a:ln w="0" cmpd="sng">
              <a:solidFill>
                <a:prstClr val="white"/>
              </a:solidFill>
            </a:ln>
          </a:insideH>
          <a:insideV>
            <a:ln w="0" cmpd="sng">
              <a:solidFill>
                <a:prstClr val="white"/>
              </a:solidFill>
            </a:ln>
          </a:insideV>
        </a:tcBdr>
        <a:fill>
          <a:solidFill>
            <a:prstClr val="white"/>
          </a:solidFill>
        </a:fill>
      </a:tcStyle>
    </a:wholeTbl>
    <a:band1H>
      <a:tcStyle>
        <a:tcBdr/>
        <a:fill>
          <a:solidFill>
            <a:prstClr val="white"/>
          </a:solidFill>
        </a:fill>
      </a:tcStyle>
    </a:band1H>
    <a:band2H>
      <a:tcStyle>
        <a:tcBdr/>
        <a:fill>
          <a:solidFill>
            <a:srgbClr val="E1E1E1"/>
          </a:solidFill>
        </a:fill>
      </a:tcStyle>
    </a:band2H>
    <a:band1V>
      <a:tcStyle>
        <a:tcBdr/>
      </a:tcStyle>
    </a:band1V>
    <a:band2V>
      <a:tcStyle>
        <a:tcBdr/>
      </a:tcStyle>
    </a:band2V>
    <a:lastCol>
      <a:tcStyle>
        <a:tcBdr/>
      </a:tcStyle>
    </a:lastCol>
    <a:firstCol>
      <a:tcTxStyle b="on">
        <a:fontRef idx="minor"/>
        <a:schemeClr val="accent1"/>
      </a:tcTxStyle>
      <a:tcStyle>
        <a:tcBdr>
          <a:right>
            <a:ln w="3175" cmpd="sng">
              <a:solidFill>
                <a:prstClr val="black"/>
              </a:solidFill>
            </a:ln>
          </a:right>
        </a:tcBdr>
      </a:tcStyle>
    </a:firstCol>
    <a:lastRow>
      <a:tcTxStyle b="on">
        <a:fontRef idx="minor"/>
      </a:tcTxStyle>
      <a:tcStyle>
        <a:tcBdr>
          <a:top>
            <a:ln w="12700" cmpd="sng">
              <a:solidFill>
                <a:prstClr val="black"/>
              </a:solidFill>
            </a:ln>
          </a:top>
          <a:bottom>
            <a:ln w="12700" cmpd="sng">
              <a:solidFill>
                <a:prstClr val="black"/>
              </a:solidFill>
            </a:ln>
          </a:bottom>
          <a:insideV>
            <a:ln w="0" cmpd="sng">
              <a:solidFill>
                <a:prstClr val="white"/>
              </a:solidFill>
            </a:ln>
          </a:insideV>
        </a:tcBdr>
      </a:tcStyle>
    </a:lastRow>
    <a:firstRow>
      <a:tcTxStyle b="on">
        <a:fontRef idx="minor"/>
        <a:schemeClr val="accent1"/>
      </a:tcTxStyle>
      <a:tcStyle>
        <a:tcBdr>
          <a:top>
            <a:ln w="0" cmpd="sng">
              <a:solidFill>
                <a:prstClr val="white"/>
              </a:solidFill>
            </a:ln>
          </a:top>
          <a:bottom>
            <a:ln w="12700" cmpd="sng">
              <a:solidFill>
                <a:prstClr val="black"/>
              </a:solidFill>
            </a:ln>
          </a:bottom>
          <a:insideV>
            <a:ln w="0" cmpd="sng">
              <a:solidFill>
                <a:prstClr val="white"/>
              </a:solidFill>
            </a:ln>
          </a:insideV>
        </a:tcBdr>
        <a:fill>
          <a:solidFill>
            <a:prstClr val="white"/>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5885"/>
  </p:normalViewPr>
  <p:slideViewPr>
    <p:cSldViewPr snapToGrid="0">
      <p:cViewPr varScale="1">
        <p:scale>
          <a:sx n="63" d="100"/>
          <a:sy n="63" d="100"/>
        </p:scale>
        <p:origin x="1328"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1A4717-17EE-40C3-ADBE-18DA2D2F304B}" type="datetimeFigureOut">
              <a:rPr lang="en-CA" smtClean="0"/>
              <a:t>2022-09-20</a:t>
            </a:fld>
            <a:endParaRPr lang="en-CA"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9B3027-B0AE-47F6-A1F3-C27C8BDFA60B}" type="slidenum">
              <a:rPr lang="en-CA" smtClean="0"/>
              <a:t>‹#›</a:t>
            </a:fld>
            <a:endParaRPr lang="en-CA" dirty="0"/>
          </a:p>
        </p:txBody>
      </p:sp>
    </p:spTree>
    <p:extLst>
      <p:ext uri="{BB962C8B-B14F-4D97-AF65-F5344CB8AC3E}">
        <p14:creationId xmlns:p14="http://schemas.microsoft.com/office/powerpoint/2010/main" val="214660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0</a:t>
            </a:fld>
            <a:endParaRPr lang="en-CA" dirty="0"/>
          </a:p>
        </p:txBody>
      </p:sp>
    </p:spTree>
    <p:extLst>
      <p:ext uri="{BB962C8B-B14F-4D97-AF65-F5344CB8AC3E}">
        <p14:creationId xmlns:p14="http://schemas.microsoft.com/office/powerpoint/2010/main" val="4122433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1</a:t>
            </a:fld>
            <a:endParaRPr lang="en-CA" dirty="0"/>
          </a:p>
        </p:txBody>
      </p:sp>
    </p:spTree>
    <p:extLst>
      <p:ext uri="{BB962C8B-B14F-4D97-AF65-F5344CB8AC3E}">
        <p14:creationId xmlns:p14="http://schemas.microsoft.com/office/powerpoint/2010/main" val="3143044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2</a:t>
            </a:fld>
            <a:endParaRPr lang="en-CA" dirty="0"/>
          </a:p>
        </p:txBody>
      </p:sp>
    </p:spTree>
    <p:extLst>
      <p:ext uri="{BB962C8B-B14F-4D97-AF65-F5344CB8AC3E}">
        <p14:creationId xmlns:p14="http://schemas.microsoft.com/office/powerpoint/2010/main" val="2585753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89550" cy="3968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3</a:t>
            </a:fld>
            <a:endParaRPr lang="en-CA" dirty="0"/>
          </a:p>
        </p:txBody>
      </p:sp>
    </p:spTree>
    <p:extLst>
      <p:ext uri="{BB962C8B-B14F-4D97-AF65-F5344CB8AC3E}">
        <p14:creationId xmlns:p14="http://schemas.microsoft.com/office/powerpoint/2010/main" val="719345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8</a:t>
            </a:fld>
            <a:endParaRPr lang="en-CA" dirty="0"/>
          </a:p>
        </p:txBody>
      </p:sp>
    </p:spTree>
    <p:extLst>
      <p:ext uri="{BB962C8B-B14F-4D97-AF65-F5344CB8AC3E}">
        <p14:creationId xmlns:p14="http://schemas.microsoft.com/office/powerpoint/2010/main" val="716700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10</a:t>
            </a:fld>
            <a:endParaRPr lang="en-CA" dirty="0"/>
          </a:p>
        </p:txBody>
      </p:sp>
    </p:spTree>
    <p:extLst>
      <p:ext uri="{BB962C8B-B14F-4D97-AF65-F5344CB8AC3E}">
        <p14:creationId xmlns:p14="http://schemas.microsoft.com/office/powerpoint/2010/main" val="2676686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11</a:t>
            </a:fld>
            <a:endParaRPr lang="en-CA" dirty="0"/>
          </a:p>
        </p:txBody>
      </p:sp>
    </p:spTree>
    <p:extLst>
      <p:ext uri="{BB962C8B-B14F-4D97-AF65-F5344CB8AC3E}">
        <p14:creationId xmlns:p14="http://schemas.microsoft.com/office/powerpoint/2010/main" val="2458092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8.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0.png"/><Relationship Id="rId7"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15.pn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0.png"/><Relationship Id="rId7"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25.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2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0.png"/><Relationship Id="rId7"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svg"/><Relationship Id="rId11" Type="http://schemas.openxmlformats.org/officeDocument/2006/relationships/image" Target="../media/image15.png"/><Relationship Id="rId5" Type="http://schemas.openxmlformats.org/officeDocument/2006/relationships/image" Target="../media/image4.png"/><Relationship Id="rId10" Type="http://schemas.openxmlformats.org/officeDocument/2006/relationships/image" Target="../media/image18.svg"/><Relationship Id="rId4" Type="http://schemas.openxmlformats.org/officeDocument/2006/relationships/image" Target="../media/image13.png"/><Relationship Id="rId9"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0.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png"/><Relationship Id="rId7"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13.png"/><Relationship Id="rId7"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13.png"/><Relationship Id="rId7"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3.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3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7.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8.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8.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26B87F-5E84-7144-A74B-D4C32C819A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27194" y="6070430"/>
            <a:ext cx="1599497" cy="329184"/>
          </a:xfrm>
          <a:prstGeom prst="rect">
            <a:avLst/>
          </a:prstGeom>
        </p:spPr>
      </p:pic>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dirty="0"/>
              <a:t>Click to add presentation title. 3 lines max.</a:t>
            </a:r>
          </a:p>
        </p:txBody>
      </p:sp>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0495177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20411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46728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761610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3130842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606563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1275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dirty="0"/>
              <a:t>Click to add topic</a:t>
            </a:r>
          </a:p>
          <a:p>
            <a:pPr lvl="1"/>
            <a:r>
              <a:rPr lang="en-US" dirty="0"/>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2249592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XX%</a:t>
            </a:r>
          </a:p>
          <a:p>
            <a:pPr lvl="1"/>
            <a:r>
              <a:rPr lang="en-US" dirty="0"/>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dirty="0"/>
              <a:t>Click to add topic</a:t>
            </a:r>
          </a:p>
          <a:p>
            <a:pPr lvl="1"/>
            <a:r>
              <a:rPr lang="en-US" dirty="0"/>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4048668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6763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51420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dirty="0"/>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pic>
        <p:nvPicPr>
          <p:cNvPr id="25" name="Picture 24">
            <a:extLst>
              <a:ext uri="{FF2B5EF4-FFF2-40B4-BE49-F238E27FC236}">
                <a16:creationId xmlns:a16="http://schemas.microsoft.com/office/drawing/2014/main" id="{26ADBFE0-0C84-2E44-AD3F-2FE877CA00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27194" y="6070430"/>
            <a:ext cx="1599497" cy="329184"/>
          </a:xfrm>
          <a:prstGeom prst="rect">
            <a:avLst/>
          </a:prstGeom>
        </p:spPr>
      </p:pic>
    </p:spTree>
    <p:extLst>
      <p:ext uri="{BB962C8B-B14F-4D97-AF65-F5344CB8AC3E}">
        <p14:creationId xmlns:p14="http://schemas.microsoft.com/office/powerpoint/2010/main" val="3513902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38168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245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91268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78338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59" name="Picture Placeholder 58">
            <a:extLst>
              <a:ext uri="{FF2B5EF4-FFF2-40B4-BE49-F238E27FC236}">
                <a16:creationId xmlns:a16="http://schemas.microsoft.com/office/drawing/2014/main" id="{AEA78B6A-E41B-1349-9FFB-DF8D93561279}"/>
              </a:ext>
            </a:extLst>
          </p:cNvPr>
          <p:cNvSpPr>
            <a:spLocks noGrp="1"/>
          </p:cNvSpPr>
          <p:nvPr>
            <p:ph type="pic" sz="quarter" idx="10" hasCustomPrompt="1"/>
          </p:nvPr>
        </p:nvSpPr>
        <p:spPr>
          <a:xfrm>
            <a:off x="0" y="1112838"/>
            <a:ext cx="9144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9141331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02" name="Picture Placeholder 101">
            <a:extLst>
              <a:ext uri="{FF2B5EF4-FFF2-40B4-BE49-F238E27FC236}">
                <a16:creationId xmlns:a16="http://schemas.microsoft.com/office/drawing/2014/main" id="{FD73EF23-017D-BB49-A247-140CD91DD7D7}"/>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56668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93" name="Picture Placeholder 92">
            <a:extLst>
              <a:ext uri="{FF2B5EF4-FFF2-40B4-BE49-F238E27FC236}">
                <a16:creationId xmlns:a16="http://schemas.microsoft.com/office/drawing/2014/main" id="{96643F1E-EEDF-7D42-A27B-58F498588AD4}"/>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Tree>
    <p:extLst>
      <p:ext uri="{BB962C8B-B14F-4D97-AF65-F5344CB8AC3E}">
        <p14:creationId xmlns:p14="http://schemas.microsoft.com/office/powerpoint/2010/main" val="15879037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113" name="Picture Placeholder 112">
            <a:extLst>
              <a:ext uri="{FF2B5EF4-FFF2-40B4-BE49-F238E27FC236}">
                <a16:creationId xmlns:a16="http://schemas.microsoft.com/office/drawing/2014/main" id="{F496D090-3599-A14E-975E-33E720BD0F6C}"/>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 Click to add source and footnotes. (Level 1 formatting for source, and levels 2+ for footnote numbering.) If over 4 lines, move footnote text to “Footnotes Appendix” slide and write “See Appendix for footnotes #-#” with level 1 formatting. </a:t>
            </a:r>
          </a:p>
          <a:p>
            <a:pPr lvl="1"/>
            <a:r>
              <a:rPr lang="en-US" dirty="0"/>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4" name="Picture Placeholder 93">
            <a:extLst>
              <a:ext uri="{FF2B5EF4-FFF2-40B4-BE49-F238E27FC236}">
                <a16:creationId xmlns:a16="http://schemas.microsoft.com/office/drawing/2014/main" id="{DA0098CE-047E-4549-A7AF-9A9E80574A8A}"/>
              </a:ext>
            </a:extLst>
          </p:cNvPr>
          <p:cNvSpPr>
            <a:spLocks noGrp="1"/>
          </p:cNvSpPr>
          <p:nvPr>
            <p:ph type="pic" sz="quarter" idx="1001" hasCustomPrompt="1"/>
          </p:nvPr>
        </p:nvSpPr>
        <p:spPr>
          <a:xfrm>
            <a:off x="-30461" y="13211783"/>
            <a:ext cx="9144000" cy="643319"/>
          </a:xfrm>
          <a:custGeom>
            <a:avLst/>
            <a:gdLst>
              <a:gd name="connsiteX0" fmla="*/ 8381735 w 9144000"/>
              <a:gd name="connsiteY0" fmla="*/ 361341 h 643319"/>
              <a:gd name="connsiteX1" fmla="*/ 8398942 w 9144000"/>
              <a:gd name="connsiteY1" fmla="*/ 363196 h 643319"/>
              <a:gd name="connsiteX2" fmla="*/ 8407847 w 9144000"/>
              <a:gd name="connsiteY2" fmla="*/ 369985 h 643319"/>
              <a:gd name="connsiteX3" fmla="*/ 8413547 w 9144000"/>
              <a:gd name="connsiteY3" fmla="*/ 380310 h 643319"/>
              <a:gd name="connsiteX4" fmla="*/ 8415584 w 9144000"/>
              <a:gd name="connsiteY4" fmla="*/ 393522 h 643319"/>
              <a:gd name="connsiteX5" fmla="*/ 8413646 w 9144000"/>
              <a:gd name="connsiteY5" fmla="*/ 406593 h 643319"/>
              <a:gd name="connsiteX6" fmla="*/ 8407947 w 9144000"/>
              <a:gd name="connsiteY6" fmla="*/ 416988 h 643319"/>
              <a:gd name="connsiteX7" fmla="*/ 8375887 w 9144000"/>
              <a:gd name="connsiteY7" fmla="*/ 423833 h 643319"/>
              <a:gd name="connsiteX8" fmla="*/ 8366910 w 9144000"/>
              <a:gd name="connsiteY8" fmla="*/ 416988 h 643319"/>
              <a:gd name="connsiteX9" fmla="*/ 8361211 w 9144000"/>
              <a:gd name="connsiteY9" fmla="*/ 406593 h 643319"/>
              <a:gd name="connsiteX10" fmla="*/ 8359045 w 9144000"/>
              <a:gd name="connsiteY10" fmla="*/ 393522 h 643319"/>
              <a:gd name="connsiteX11" fmla="*/ 8361097 w 9144000"/>
              <a:gd name="connsiteY11" fmla="*/ 380310 h 643319"/>
              <a:gd name="connsiteX12" fmla="*/ 8366796 w 9144000"/>
              <a:gd name="connsiteY12" fmla="*/ 369985 h 643319"/>
              <a:gd name="connsiteX13" fmla="*/ 8381735 w 9144000"/>
              <a:gd name="connsiteY13" fmla="*/ 361341 h 643319"/>
              <a:gd name="connsiteX14" fmla="*/ 8525633 w 9144000"/>
              <a:gd name="connsiteY14" fmla="*/ 338805 h 643319"/>
              <a:gd name="connsiteX15" fmla="*/ 8525633 w 9144000"/>
              <a:gd name="connsiteY15" fmla="*/ 384751 h 643319"/>
              <a:gd name="connsiteX16" fmla="*/ 8525633 w 9144000"/>
              <a:gd name="connsiteY16" fmla="*/ 448092 h 643319"/>
              <a:gd name="connsiteX17" fmla="*/ 8595623 w 9144000"/>
              <a:gd name="connsiteY17" fmla="*/ 448092 h 643319"/>
              <a:gd name="connsiteX18" fmla="*/ 8596022 w 9144000"/>
              <a:gd name="connsiteY18" fmla="*/ 448092 h 643319"/>
              <a:gd name="connsiteX19" fmla="*/ 8596022 w 9144000"/>
              <a:gd name="connsiteY19" fmla="*/ 431091 h 643319"/>
              <a:gd name="connsiteX20" fmla="*/ 8595623 w 9144000"/>
              <a:gd name="connsiteY20" fmla="*/ 431091 h 643319"/>
              <a:gd name="connsiteX21" fmla="*/ 8595623 w 9144000"/>
              <a:gd name="connsiteY21" fmla="*/ 424993 h 643319"/>
              <a:gd name="connsiteX22" fmla="*/ 8551295 w 9144000"/>
              <a:gd name="connsiteY22" fmla="*/ 424993 h 643319"/>
              <a:gd name="connsiteX23" fmla="*/ 8551295 w 9144000"/>
              <a:gd name="connsiteY23" fmla="*/ 403668 h 643319"/>
              <a:gd name="connsiteX24" fmla="*/ 8591705 w 9144000"/>
              <a:gd name="connsiteY24" fmla="*/ 403668 h 643319"/>
              <a:gd name="connsiteX25" fmla="*/ 8591705 w 9144000"/>
              <a:gd name="connsiteY25" fmla="*/ 381596 h 643319"/>
              <a:gd name="connsiteX26" fmla="*/ 8551295 w 9144000"/>
              <a:gd name="connsiteY26" fmla="*/ 381596 h 643319"/>
              <a:gd name="connsiteX27" fmla="*/ 8551295 w 9144000"/>
              <a:gd name="connsiteY27" fmla="*/ 362074 h 643319"/>
              <a:gd name="connsiteX28" fmla="*/ 8595623 w 9144000"/>
              <a:gd name="connsiteY28" fmla="*/ 362074 h 643319"/>
              <a:gd name="connsiteX29" fmla="*/ 8595623 w 9144000"/>
              <a:gd name="connsiteY29" fmla="*/ 355806 h 643319"/>
              <a:gd name="connsiteX30" fmla="*/ 8596022 w 9144000"/>
              <a:gd name="connsiteY30" fmla="*/ 355806 h 643319"/>
              <a:gd name="connsiteX31" fmla="*/ 8596022 w 9144000"/>
              <a:gd name="connsiteY31" fmla="*/ 338805 h 643319"/>
              <a:gd name="connsiteX32" fmla="*/ 8595623 w 9144000"/>
              <a:gd name="connsiteY32" fmla="*/ 338805 h 643319"/>
              <a:gd name="connsiteX33" fmla="*/ 8547362 w 9144000"/>
              <a:gd name="connsiteY33" fmla="*/ 338805 h 643319"/>
              <a:gd name="connsiteX34" fmla="*/ 8448177 w 9144000"/>
              <a:gd name="connsiteY34" fmla="*/ 338805 h 643319"/>
              <a:gd name="connsiteX35" fmla="*/ 8448177 w 9144000"/>
              <a:gd name="connsiteY35" fmla="*/ 384751 h 643319"/>
              <a:gd name="connsiteX36" fmla="*/ 8448177 w 9144000"/>
              <a:gd name="connsiteY36" fmla="*/ 448092 h 643319"/>
              <a:gd name="connsiteX37" fmla="*/ 8518167 w 9144000"/>
              <a:gd name="connsiteY37" fmla="*/ 448092 h 643319"/>
              <a:gd name="connsiteX38" fmla="*/ 8518552 w 9144000"/>
              <a:gd name="connsiteY38" fmla="*/ 448092 h 643319"/>
              <a:gd name="connsiteX39" fmla="*/ 8518552 w 9144000"/>
              <a:gd name="connsiteY39" fmla="*/ 431091 h 643319"/>
              <a:gd name="connsiteX40" fmla="*/ 8518167 w 9144000"/>
              <a:gd name="connsiteY40" fmla="*/ 431091 h 643319"/>
              <a:gd name="connsiteX41" fmla="*/ 8518167 w 9144000"/>
              <a:gd name="connsiteY41" fmla="*/ 424993 h 643319"/>
              <a:gd name="connsiteX42" fmla="*/ 8473825 w 9144000"/>
              <a:gd name="connsiteY42" fmla="*/ 424993 h 643319"/>
              <a:gd name="connsiteX43" fmla="*/ 8473825 w 9144000"/>
              <a:gd name="connsiteY43" fmla="*/ 403668 h 643319"/>
              <a:gd name="connsiteX44" fmla="*/ 8514235 w 9144000"/>
              <a:gd name="connsiteY44" fmla="*/ 403668 h 643319"/>
              <a:gd name="connsiteX45" fmla="*/ 8514235 w 9144000"/>
              <a:gd name="connsiteY45" fmla="*/ 381596 h 643319"/>
              <a:gd name="connsiteX46" fmla="*/ 8473825 w 9144000"/>
              <a:gd name="connsiteY46" fmla="*/ 381596 h 643319"/>
              <a:gd name="connsiteX47" fmla="*/ 8473825 w 9144000"/>
              <a:gd name="connsiteY47" fmla="*/ 362074 h 643319"/>
              <a:gd name="connsiteX48" fmla="*/ 8518167 w 9144000"/>
              <a:gd name="connsiteY48" fmla="*/ 362074 h 643319"/>
              <a:gd name="connsiteX49" fmla="*/ 8518167 w 9144000"/>
              <a:gd name="connsiteY49" fmla="*/ 355806 h 643319"/>
              <a:gd name="connsiteX50" fmla="*/ 8518552 w 9144000"/>
              <a:gd name="connsiteY50" fmla="*/ 355806 h 643319"/>
              <a:gd name="connsiteX51" fmla="*/ 8518552 w 9144000"/>
              <a:gd name="connsiteY51" fmla="*/ 338805 h 643319"/>
              <a:gd name="connsiteX52" fmla="*/ 8518167 w 9144000"/>
              <a:gd name="connsiteY52" fmla="*/ 338805 h 643319"/>
              <a:gd name="connsiteX53" fmla="*/ 8469892 w 9144000"/>
              <a:gd name="connsiteY53" fmla="*/ 338805 h 643319"/>
              <a:gd name="connsiteX54" fmla="*/ 8387913 w 9144000"/>
              <a:gd name="connsiteY54" fmla="*/ 338772 h 643319"/>
              <a:gd name="connsiteX55" fmla="*/ 8365286 w 9144000"/>
              <a:gd name="connsiteY55" fmla="*/ 342998 h 643319"/>
              <a:gd name="connsiteX56" fmla="*/ 8357150 w 9144000"/>
              <a:gd name="connsiteY56" fmla="*/ 347125 h 643319"/>
              <a:gd name="connsiteX57" fmla="*/ 8332784 w 9144000"/>
              <a:gd name="connsiteY57" fmla="*/ 398691 h 643319"/>
              <a:gd name="connsiteX58" fmla="*/ 8336389 w 9144000"/>
              <a:gd name="connsiteY58" fmla="*/ 415171 h 643319"/>
              <a:gd name="connsiteX59" fmla="*/ 8364431 w 9144000"/>
              <a:gd name="connsiteY59" fmla="*/ 443904 h 643319"/>
              <a:gd name="connsiteX60" fmla="*/ 8386916 w 9144000"/>
              <a:gd name="connsiteY60" fmla="*/ 448130 h 643319"/>
              <a:gd name="connsiteX61" fmla="*/ 8409486 w 9144000"/>
              <a:gd name="connsiteY61" fmla="*/ 443904 h 643319"/>
              <a:gd name="connsiteX62" fmla="*/ 8426926 w 9144000"/>
              <a:gd name="connsiteY62" fmla="*/ 432425 h 643319"/>
              <a:gd name="connsiteX63" fmla="*/ 8438240 w 9144000"/>
              <a:gd name="connsiteY63" fmla="*/ 415171 h 643319"/>
              <a:gd name="connsiteX64" fmla="*/ 8442258 w 9144000"/>
              <a:gd name="connsiteY64" fmla="*/ 393522 h 643319"/>
              <a:gd name="connsiteX65" fmla="*/ 8438397 w 9144000"/>
              <a:gd name="connsiteY65" fmla="*/ 371788 h 643319"/>
              <a:gd name="connsiteX66" fmla="*/ 8427439 w 9144000"/>
              <a:gd name="connsiteY66" fmla="*/ 354477 h 643319"/>
              <a:gd name="connsiteX67" fmla="*/ 8410341 w 9144000"/>
              <a:gd name="connsiteY67" fmla="*/ 342998 h 643319"/>
              <a:gd name="connsiteX68" fmla="*/ 8387913 w 9144000"/>
              <a:gd name="connsiteY68" fmla="*/ 338772 h 643319"/>
              <a:gd name="connsiteX69" fmla="*/ 8245203 w 9144000"/>
              <a:gd name="connsiteY69" fmla="*/ 338425 h 643319"/>
              <a:gd name="connsiteX70" fmla="*/ 8261546 w 9144000"/>
              <a:gd name="connsiteY70" fmla="*/ 372497 h 643319"/>
              <a:gd name="connsiteX71" fmla="*/ 8288505 w 9144000"/>
              <a:gd name="connsiteY71" fmla="*/ 372497 h 643319"/>
              <a:gd name="connsiteX72" fmla="*/ 8274156 w 9144000"/>
              <a:gd name="connsiteY72" fmla="*/ 338425 h 643319"/>
              <a:gd name="connsiteX73" fmla="*/ 8325053 w 9144000"/>
              <a:gd name="connsiteY73" fmla="*/ 338411 h 643319"/>
              <a:gd name="connsiteX74" fmla="*/ 8299363 w 9144000"/>
              <a:gd name="connsiteY74" fmla="*/ 397541 h 643319"/>
              <a:gd name="connsiteX75" fmla="*/ 8292395 w 9144000"/>
              <a:gd name="connsiteY75" fmla="*/ 381202 h 643319"/>
              <a:gd name="connsiteX76" fmla="*/ 8265650 w 9144000"/>
              <a:gd name="connsiteY76" fmla="*/ 381202 h 643319"/>
              <a:gd name="connsiteX77" fmla="*/ 8297582 w 9144000"/>
              <a:gd name="connsiteY77" fmla="*/ 447867 h 643319"/>
              <a:gd name="connsiteX78" fmla="*/ 8300545 w 9144000"/>
              <a:gd name="connsiteY78" fmla="*/ 447867 h 643319"/>
              <a:gd name="connsiteX79" fmla="*/ 8352283 w 9144000"/>
              <a:gd name="connsiteY79" fmla="*/ 338411 h 643319"/>
              <a:gd name="connsiteX80" fmla="*/ 8704282 w 9144000"/>
              <a:gd name="connsiteY80" fmla="*/ 300873 h 643319"/>
              <a:gd name="connsiteX81" fmla="*/ 8704282 w 9144000"/>
              <a:gd name="connsiteY81" fmla="*/ 475801 h 643319"/>
              <a:gd name="connsiteX82" fmla="*/ 8723671 w 9144000"/>
              <a:gd name="connsiteY82" fmla="*/ 475801 h 643319"/>
              <a:gd name="connsiteX83" fmla="*/ 8723671 w 9144000"/>
              <a:gd name="connsiteY83" fmla="*/ 300873 h 643319"/>
              <a:gd name="connsiteX84" fmla="*/ 0 w 9144000"/>
              <a:gd name="connsiteY84" fmla="*/ 0 h 643319"/>
              <a:gd name="connsiteX85" fmla="*/ 9144000 w 9144000"/>
              <a:gd name="connsiteY85" fmla="*/ 0 h 643319"/>
              <a:gd name="connsiteX86" fmla="*/ 9144000 w 9144000"/>
              <a:gd name="connsiteY86" fmla="*/ 182470 h 643319"/>
              <a:gd name="connsiteX87" fmla="*/ 9144000 w 9144000"/>
              <a:gd name="connsiteY87" fmla="*/ 220281 h 643319"/>
              <a:gd name="connsiteX88" fmla="*/ 9144000 w 9144000"/>
              <a:gd name="connsiteY88" fmla="*/ 643319 h 643319"/>
              <a:gd name="connsiteX89" fmla="*/ 8995529 w 9144000"/>
              <a:gd name="connsiteY89" fmla="*/ 643319 h 643319"/>
              <a:gd name="connsiteX90" fmla="*/ 7924718 w 9144000"/>
              <a:gd name="connsiteY90" fmla="*/ 643319 h 643319"/>
              <a:gd name="connsiteX91" fmla="*/ 0 w 9144000"/>
              <a:gd name="connsiteY91" fmla="*/ 643319 h 643319"/>
              <a:gd name="connsiteX92" fmla="*/ 0 w 9144000"/>
              <a:gd name="connsiteY92" fmla="*/ 220281 h 643319"/>
              <a:gd name="connsiteX93" fmla="*/ 0 w 9144000"/>
              <a:gd name="connsiteY93" fmla="*/ 182470 h 64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43319">
                <a:moveTo>
                  <a:pt x="8381735" y="361341"/>
                </a:moveTo>
                <a:cubicBezTo>
                  <a:pt x="8387385" y="360148"/>
                  <a:pt x="8393413" y="360704"/>
                  <a:pt x="8398942" y="363196"/>
                </a:cubicBezTo>
                <a:cubicBezTo>
                  <a:pt x="8402361" y="364814"/>
                  <a:pt x="8405396" y="367127"/>
                  <a:pt x="8407847" y="369985"/>
                </a:cubicBezTo>
                <a:cubicBezTo>
                  <a:pt x="8410387" y="373042"/>
                  <a:pt x="8412320" y="376545"/>
                  <a:pt x="8413547" y="380310"/>
                </a:cubicBezTo>
                <a:cubicBezTo>
                  <a:pt x="8414952" y="384574"/>
                  <a:pt x="8415640" y="389037"/>
                  <a:pt x="8415584" y="393522"/>
                </a:cubicBezTo>
                <a:cubicBezTo>
                  <a:pt x="8415665" y="397954"/>
                  <a:pt x="8415011" y="402370"/>
                  <a:pt x="8413646" y="406593"/>
                </a:cubicBezTo>
                <a:cubicBezTo>
                  <a:pt x="8412411" y="410375"/>
                  <a:pt x="8410478" y="413899"/>
                  <a:pt x="8407947" y="416988"/>
                </a:cubicBezTo>
                <a:cubicBezTo>
                  <a:pt x="8399972" y="426034"/>
                  <a:pt x="8386928" y="428819"/>
                  <a:pt x="8375887" y="423833"/>
                </a:cubicBezTo>
                <a:cubicBezTo>
                  <a:pt x="8372423" y="422230"/>
                  <a:pt x="8369358" y="419893"/>
                  <a:pt x="8366910" y="416988"/>
                </a:cubicBezTo>
                <a:cubicBezTo>
                  <a:pt x="8364379" y="413899"/>
                  <a:pt x="8362446" y="410375"/>
                  <a:pt x="8361211" y="406593"/>
                </a:cubicBezTo>
                <a:cubicBezTo>
                  <a:pt x="8359769" y="402382"/>
                  <a:pt x="8359038" y="397966"/>
                  <a:pt x="8359045" y="393522"/>
                </a:cubicBezTo>
                <a:cubicBezTo>
                  <a:pt x="8358993" y="389036"/>
                  <a:pt x="8359686" y="384573"/>
                  <a:pt x="8361097" y="380310"/>
                </a:cubicBezTo>
                <a:cubicBezTo>
                  <a:pt x="8362323" y="376545"/>
                  <a:pt x="8364257" y="373042"/>
                  <a:pt x="8366796" y="369985"/>
                </a:cubicBezTo>
                <a:cubicBezTo>
                  <a:pt x="8370813" y="365477"/>
                  <a:pt x="8376085" y="362534"/>
                  <a:pt x="8381735" y="361341"/>
                </a:cubicBezTo>
                <a:close/>
                <a:moveTo>
                  <a:pt x="8525633" y="338805"/>
                </a:moveTo>
                <a:lnTo>
                  <a:pt x="8525633" y="384751"/>
                </a:lnTo>
                <a:lnTo>
                  <a:pt x="8525633" y="448092"/>
                </a:lnTo>
                <a:lnTo>
                  <a:pt x="8595623" y="448092"/>
                </a:lnTo>
                <a:lnTo>
                  <a:pt x="8596022" y="448092"/>
                </a:lnTo>
                <a:lnTo>
                  <a:pt x="8596022" y="431091"/>
                </a:lnTo>
                <a:lnTo>
                  <a:pt x="8595623" y="431091"/>
                </a:lnTo>
                <a:lnTo>
                  <a:pt x="8595623" y="424993"/>
                </a:lnTo>
                <a:lnTo>
                  <a:pt x="8551295" y="424993"/>
                </a:lnTo>
                <a:lnTo>
                  <a:pt x="8551295" y="403668"/>
                </a:lnTo>
                <a:lnTo>
                  <a:pt x="8591705" y="403668"/>
                </a:lnTo>
                <a:lnTo>
                  <a:pt x="8591705" y="381596"/>
                </a:lnTo>
                <a:lnTo>
                  <a:pt x="8551295" y="381596"/>
                </a:lnTo>
                <a:lnTo>
                  <a:pt x="8551295" y="362074"/>
                </a:lnTo>
                <a:lnTo>
                  <a:pt x="8595623" y="362074"/>
                </a:lnTo>
                <a:lnTo>
                  <a:pt x="8595623" y="355806"/>
                </a:lnTo>
                <a:lnTo>
                  <a:pt x="8596022" y="355806"/>
                </a:lnTo>
                <a:lnTo>
                  <a:pt x="8596022" y="338805"/>
                </a:lnTo>
                <a:lnTo>
                  <a:pt x="8595623" y="338805"/>
                </a:lnTo>
                <a:lnTo>
                  <a:pt x="8547362" y="338805"/>
                </a:lnTo>
                <a:close/>
                <a:moveTo>
                  <a:pt x="8448177" y="338805"/>
                </a:moveTo>
                <a:lnTo>
                  <a:pt x="8448177" y="384751"/>
                </a:lnTo>
                <a:lnTo>
                  <a:pt x="8448177" y="448092"/>
                </a:lnTo>
                <a:lnTo>
                  <a:pt x="8518167" y="448092"/>
                </a:lnTo>
                <a:lnTo>
                  <a:pt x="8518552" y="448092"/>
                </a:lnTo>
                <a:lnTo>
                  <a:pt x="8518552" y="431091"/>
                </a:lnTo>
                <a:lnTo>
                  <a:pt x="8518167" y="431091"/>
                </a:lnTo>
                <a:lnTo>
                  <a:pt x="8518167" y="424993"/>
                </a:lnTo>
                <a:lnTo>
                  <a:pt x="8473825" y="424993"/>
                </a:lnTo>
                <a:lnTo>
                  <a:pt x="8473825" y="403668"/>
                </a:lnTo>
                <a:lnTo>
                  <a:pt x="8514235" y="403668"/>
                </a:lnTo>
                <a:lnTo>
                  <a:pt x="8514235" y="381596"/>
                </a:lnTo>
                <a:lnTo>
                  <a:pt x="8473825" y="381596"/>
                </a:lnTo>
                <a:lnTo>
                  <a:pt x="8473825" y="362074"/>
                </a:lnTo>
                <a:lnTo>
                  <a:pt x="8518167" y="362074"/>
                </a:lnTo>
                <a:lnTo>
                  <a:pt x="8518167" y="355806"/>
                </a:lnTo>
                <a:lnTo>
                  <a:pt x="8518552" y="355806"/>
                </a:lnTo>
                <a:lnTo>
                  <a:pt x="8518552" y="338805"/>
                </a:lnTo>
                <a:lnTo>
                  <a:pt x="8518167" y="338805"/>
                </a:lnTo>
                <a:lnTo>
                  <a:pt x="8469892" y="338805"/>
                </a:lnTo>
                <a:close/>
                <a:moveTo>
                  <a:pt x="8387913" y="338772"/>
                </a:moveTo>
                <a:cubicBezTo>
                  <a:pt x="8380162" y="338688"/>
                  <a:pt x="8372471" y="340124"/>
                  <a:pt x="8365286" y="342998"/>
                </a:cubicBezTo>
                <a:cubicBezTo>
                  <a:pt x="8362463" y="344149"/>
                  <a:pt x="8359742" y="345530"/>
                  <a:pt x="8357150" y="347125"/>
                </a:cubicBezTo>
                <a:lnTo>
                  <a:pt x="8332784" y="398691"/>
                </a:lnTo>
                <a:cubicBezTo>
                  <a:pt x="8333178" y="404327"/>
                  <a:pt x="8334392" y="409877"/>
                  <a:pt x="8336389" y="415171"/>
                </a:cubicBezTo>
                <a:cubicBezTo>
                  <a:pt x="8341193" y="428245"/>
                  <a:pt x="8351385" y="438689"/>
                  <a:pt x="8364431" y="443904"/>
                </a:cubicBezTo>
                <a:cubicBezTo>
                  <a:pt x="8371564" y="446788"/>
                  <a:pt x="8379210" y="448225"/>
                  <a:pt x="8386916" y="448130"/>
                </a:cubicBezTo>
                <a:cubicBezTo>
                  <a:pt x="8394648" y="448217"/>
                  <a:pt x="8402321" y="446781"/>
                  <a:pt x="8409486" y="443904"/>
                </a:cubicBezTo>
                <a:cubicBezTo>
                  <a:pt x="8416013" y="441262"/>
                  <a:pt x="8421943" y="437360"/>
                  <a:pt x="8426926" y="432425"/>
                </a:cubicBezTo>
                <a:cubicBezTo>
                  <a:pt x="8431850" y="427498"/>
                  <a:pt x="8435700" y="421625"/>
                  <a:pt x="8438240" y="415171"/>
                </a:cubicBezTo>
                <a:cubicBezTo>
                  <a:pt x="8440974" y="408277"/>
                  <a:pt x="8442338" y="400926"/>
                  <a:pt x="8442258" y="393522"/>
                </a:cubicBezTo>
                <a:cubicBezTo>
                  <a:pt x="8442328" y="386104"/>
                  <a:pt x="8441019" y="378738"/>
                  <a:pt x="8438397" y="371788"/>
                </a:cubicBezTo>
                <a:cubicBezTo>
                  <a:pt x="8435967" y="365344"/>
                  <a:pt x="8432239" y="359455"/>
                  <a:pt x="8427439" y="354477"/>
                </a:cubicBezTo>
                <a:cubicBezTo>
                  <a:pt x="8422597" y="349531"/>
                  <a:pt x="8416777" y="345624"/>
                  <a:pt x="8410341" y="342998"/>
                </a:cubicBezTo>
                <a:cubicBezTo>
                  <a:pt x="8403230" y="340108"/>
                  <a:pt x="8395601" y="338671"/>
                  <a:pt x="8387913" y="338772"/>
                </a:cubicBezTo>
                <a:close/>
                <a:moveTo>
                  <a:pt x="8245203" y="338425"/>
                </a:moveTo>
                <a:lnTo>
                  <a:pt x="8261546" y="372497"/>
                </a:lnTo>
                <a:lnTo>
                  <a:pt x="8288505" y="372497"/>
                </a:lnTo>
                <a:lnTo>
                  <a:pt x="8274156" y="338425"/>
                </a:lnTo>
                <a:close/>
                <a:moveTo>
                  <a:pt x="8325053" y="338411"/>
                </a:moveTo>
                <a:lnTo>
                  <a:pt x="8299363" y="397541"/>
                </a:lnTo>
                <a:lnTo>
                  <a:pt x="8292395" y="381202"/>
                </a:lnTo>
                <a:lnTo>
                  <a:pt x="8265650" y="381202"/>
                </a:lnTo>
                <a:lnTo>
                  <a:pt x="8297582" y="447867"/>
                </a:lnTo>
                <a:lnTo>
                  <a:pt x="8300545" y="447867"/>
                </a:lnTo>
                <a:lnTo>
                  <a:pt x="8352283" y="338411"/>
                </a:lnTo>
                <a:close/>
                <a:moveTo>
                  <a:pt x="8704282" y="300873"/>
                </a:moveTo>
                <a:lnTo>
                  <a:pt x="8704282" y="475801"/>
                </a:lnTo>
                <a:lnTo>
                  <a:pt x="8723671" y="475801"/>
                </a:lnTo>
                <a:lnTo>
                  <a:pt x="8723671" y="300873"/>
                </a:lnTo>
                <a:close/>
                <a:moveTo>
                  <a:pt x="0" y="0"/>
                </a:moveTo>
                <a:lnTo>
                  <a:pt x="9144000" y="0"/>
                </a:lnTo>
                <a:lnTo>
                  <a:pt x="9144000" y="182470"/>
                </a:lnTo>
                <a:lnTo>
                  <a:pt x="9144000" y="220281"/>
                </a:lnTo>
                <a:lnTo>
                  <a:pt x="9144000" y="643319"/>
                </a:lnTo>
                <a:lnTo>
                  <a:pt x="8995529" y="643319"/>
                </a:lnTo>
                <a:lnTo>
                  <a:pt x="7924718" y="643319"/>
                </a:lnTo>
                <a:lnTo>
                  <a:pt x="0" y="643319"/>
                </a:lnTo>
                <a:lnTo>
                  <a:pt x="0" y="220281"/>
                </a:lnTo>
                <a:lnTo>
                  <a:pt x="0" y="18247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Tree>
    <p:extLst>
      <p:ext uri="{BB962C8B-B14F-4D97-AF65-F5344CB8AC3E}">
        <p14:creationId xmlns:p14="http://schemas.microsoft.com/office/powerpoint/2010/main" val="393027098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4" name="Picture Placeholder 93">
            <a:extLst>
              <a:ext uri="{FF2B5EF4-FFF2-40B4-BE49-F238E27FC236}">
                <a16:creationId xmlns:a16="http://schemas.microsoft.com/office/drawing/2014/main" id="{D0B63B12-6712-DC43-A793-17F39F816731}"/>
              </a:ext>
            </a:extLst>
          </p:cNvPr>
          <p:cNvSpPr>
            <a:spLocks noGrp="1"/>
          </p:cNvSpPr>
          <p:nvPr>
            <p:ph type="pic" sz="quarter" idx="1004" hasCustomPrompt="1"/>
          </p:nvPr>
        </p:nvSpPr>
        <p:spPr>
          <a:xfrm>
            <a:off x="0" y="1"/>
            <a:ext cx="9144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dirty="0"/>
              <a:t>Click to add photo caption</a:t>
            </a:r>
          </a:p>
        </p:txBody>
      </p:sp>
    </p:spTree>
    <p:extLst>
      <p:ext uri="{BB962C8B-B14F-4D97-AF65-F5344CB8AC3E}">
        <p14:creationId xmlns:p14="http://schemas.microsoft.com/office/powerpoint/2010/main" val="3770951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9BA462A4-98F4-CC48-A595-7889D7136FEB}"/>
              </a:ext>
            </a:extLst>
          </p:cNvPr>
          <p:cNvSpPr>
            <a:spLocks noGrp="1"/>
          </p:cNvSpPr>
          <p:nvPr>
            <p:ph type="pic" sz="quarter" idx="13" hasCustomPrompt="1"/>
          </p:nvPr>
        </p:nvSpPr>
        <p:spPr>
          <a:xfrm>
            <a:off x="5959474" y="-1"/>
            <a:ext cx="3184526" cy="6858000"/>
          </a:xfrm>
          <a:custGeom>
            <a:avLst/>
            <a:gdLst>
              <a:gd name="connsiteX0" fmla="*/ 2422261 w 3184526"/>
              <a:gd name="connsiteY0" fmla="*/ 6576022 h 6858000"/>
              <a:gd name="connsiteX1" fmla="*/ 2439468 w 3184526"/>
              <a:gd name="connsiteY1" fmla="*/ 6577877 h 6858000"/>
              <a:gd name="connsiteX2" fmla="*/ 2448373 w 3184526"/>
              <a:gd name="connsiteY2" fmla="*/ 6584666 h 6858000"/>
              <a:gd name="connsiteX3" fmla="*/ 2454073 w 3184526"/>
              <a:gd name="connsiteY3" fmla="*/ 6594991 h 6858000"/>
              <a:gd name="connsiteX4" fmla="*/ 2456110 w 3184526"/>
              <a:gd name="connsiteY4" fmla="*/ 6608203 h 6858000"/>
              <a:gd name="connsiteX5" fmla="*/ 2454172 w 3184526"/>
              <a:gd name="connsiteY5" fmla="*/ 6621274 h 6858000"/>
              <a:gd name="connsiteX6" fmla="*/ 2448473 w 3184526"/>
              <a:gd name="connsiteY6" fmla="*/ 6631669 h 6858000"/>
              <a:gd name="connsiteX7" fmla="*/ 2416413 w 3184526"/>
              <a:gd name="connsiteY7" fmla="*/ 6638514 h 6858000"/>
              <a:gd name="connsiteX8" fmla="*/ 2407436 w 3184526"/>
              <a:gd name="connsiteY8" fmla="*/ 6631669 h 6858000"/>
              <a:gd name="connsiteX9" fmla="*/ 2401737 w 3184526"/>
              <a:gd name="connsiteY9" fmla="*/ 6621274 h 6858000"/>
              <a:gd name="connsiteX10" fmla="*/ 2399571 w 3184526"/>
              <a:gd name="connsiteY10" fmla="*/ 6608203 h 6858000"/>
              <a:gd name="connsiteX11" fmla="*/ 2401623 w 3184526"/>
              <a:gd name="connsiteY11" fmla="*/ 6594991 h 6858000"/>
              <a:gd name="connsiteX12" fmla="*/ 2407322 w 3184526"/>
              <a:gd name="connsiteY12" fmla="*/ 6584666 h 6858000"/>
              <a:gd name="connsiteX13" fmla="*/ 2422261 w 3184526"/>
              <a:gd name="connsiteY13" fmla="*/ 6576022 h 6858000"/>
              <a:gd name="connsiteX14" fmla="*/ 2566159 w 3184526"/>
              <a:gd name="connsiteY14" fmla="*/ 6553486 h 6858000"/>
              <a:gd name="connsiteX15" fmla="*/ 2566159 w 3184526"/>
              <a:gd name="connsiteY15" fmla="*/ 6599432 h 6858000"/>
              <a:gd name="connsiteX16" fmla="*/ 2566159 w 3184526"/>
              <a:gd name="connsiteY16" fmla="*/ 6662773 h 6858000"/>
              <a:gd name="connsiteX17" fmla="*/ 2636149 w 3184526"/>
              <a:gd name="connsiteY17" fmla="*/ 6662773 h 6858000"/>
              <a:gd name="connsiteX18" fmla="*/ 2636548 w 3184526"/>
              <a:gd name="connsiteY18" fmla="*/ 6662773 h 6858000"/>
              <a:gd name="connsiteX19" fmla="*/ 2636548 w 3184526"/>
              <a:gd name="connsiteY19" fmla="*/ 6645772 h 6858000"/>
              <a:gd name="connsiteX20" fmla="*/ 2636149 w 3184526"/>
              <a:gd name="connsiteY20" fmla="*/ 6645772 h 6858000"/>
              <a:gd name="connsiteX21" fmla="*/ 2636149 w 3184526"/>
              <a:gd name="connsiteY21" fmla="*/ 6639674 h 6858000"/>
              <a:gd name="connsiteX22" fmla="*/ 2591821 w 3184526"/>
              <a:gd name="connsiteY22" fmla="*/ 6639674 h 6858000"/>
              <a:gd name="connsiteX23" fmla="*/ 2591821 w 3184526"/>
              <a:gd name="connsiteY23" fmla="*/ 6618349 h 6858000"/>
              <a:gd name="connsiteX24" fmla="*/ 2632231 w 3184526"/>
              <a:gd name="connsiteY24" fmla="*/ 6618349 h 6858000"/>
              <a:gd name="connsiteX25" fmla="*/ 2632231 w 3184526"/>
              <a:gd name="connsiteY25" fmla="*/ 6596277 h 6858000"/>
              <a:gd name="connsiteX26" fmla="*/ 2591821 w 3184526"/>
              <a:gd name="connsiteY26" fmla="*/ 6596277 h 6858000"/>
              <a:gd name="connsiteX27" fmla="*/ 2591821 w 3184526"/>
              <a:gd name="connsiteY27" fmla="*/ 6576755 h 6858000"/>
              <a:gd name="connsiteX28" fmla="*/ 2636149 w 3184526"/>
              <a:gd name="connsiteY28" fmla="*/ 6576755 h 6858000"/>
              <a:gd name="connsiteX29" fmla="*/ 2636149 w 3184526"/>
              <a:gd name="connsiteY29" fmla="*/ 6570487 h 6858000"/>
              <a:gd name="connsiteX30" fmla="*/ 2636548 w 3184526"/>
              <a:gd name="connsiteY30" fmla="*/ 6570487 h 6858000"/>
              <a:gd name="connsiteX31" fmla="*/ 2636548 w 3184526"/>
              <a:gd name="connsiteY31" fmla="*/ 6553486 h 6858000"/>
              <a:gd name="connsiteX32" fmla="*/ 2636149 w 3184526"/>
              <a:gd name="connsiteY32" fmla="*/ 6553486 h 6858000"/>
              <a:gd name="connsiteX33" fmla="*/ 2587888 w 3184526"/>
              <a:gd name="connsiteY33" fmla="*/ 6553486 h 6858000"/>
              <a:gd name="connsiteX34" fmla="*/ 2488703 w 3184526"/>
              <a:gd name="connsiteY34" fmla="*/ 6553486 h 6858000"/>
              <a:gd name="connsiteX35" fmla="*/ 2488703 w 3184526"/>
              <a:gd name="connsiteY35" fmla="*/ 6599432 h 6858000"/>
              <a:gd name="connsiteX36" fmla="*/ 2488703 w 3184526"/>
              <a:gd name="connsiteY36" fmla="*/ 6662773 h 6858000"/>
              <a:gd name="connsiteX37" fmla="*/ 2558693 w 3184526"/>
              <a:gd name="connsiteY37" fmla="*/ 6662773 h 6858000"/>
              <a:gd name="connsiteX38" fmla="*/ 2559078 w 3184526"/>
              <a:gd name="connsiteY38" fmla="*/ 6662773 h 6858000"/>
              <a:gd name="connsiteX39" fmla="*/ 2559078 w 3184526"/>
              <a:gd name="connsiteY39" fmla="*/ 6645772 h 6858000"/>
              <a:gd name="connsiteX40" fmla="*/ 2558693 w 3184526"/>
              <a:gd name="connsiteY40" fmla="*/ 6645772 h 6858000"/>
              <a:gd name="connsiteX41" fmla="*/ 2558693 w 3184526"/>
              <a:gd name="connsiteY41" fmla="*/ 6639674 h 6858000"/>
              <a:gd name="connsiteX42" fmla="*/ 2514351 w 3184526"/>
              <a:gd name="connsiteY42" fmla="*/ 6639674 h 6858000"/>
              <a:gd name="connsiteX43" fmla="*/ 2514351 w 3184526"/>
              <a:gd name="connsiteY43" fmla="*/ 6618349 h 6858000"/>
              <a:gd name="connsiteX44" fmla="*/ 2554761 w 3184526"/>
              <a:gd name="connsiteY44" fmla="*/ 6618349 h 6858000"/>
              <a:gd name="connsiteX45" fmla="*/ 2554761 w 3184526"/>
              <a:gd name="connsiteY45" fmla="*/ 6596277 h 6858000"/>
              <a:gd name="connsiteX46" fmla="*/ 2514351 w 3184526"/>
              <a:gd name="connsiteY46" fmla="*/ 6596277 h 6858000"/>
              <a:gd name="connsiteX47" fmla="*/ 2514351 w 3184526"/>
              <a:gd name="connsiteY47" fmla="*/ 6576755 h 6858000"/>
              <a:gd name="connsiteX48" fmla="*/ 2558693 w 3184526"/>
              <a:gd name="connsiteY48" fmla="*/ 6576755 h 6858000"/>
              <a:gd name="connsiteX49" fmla="*/ 2558693 w 3184526"/>
              <a:gd name="connsiteY49" fmla="*/ 6570487 h 6858000"/>
              <a:gd name="connsiteX50" fmla="*/ 2559078 w 3184526"/>
              <a:gd name="connsiteY50" fmla="*/ 6570487 h 6858000"/>
              <a:gd name="connsiteX51" fmla="*/ 2559078 w 3184526"/>
              <a:gd name="connsiteY51" fmla="*/ 6553486 h 6858000"/>
              <a:gd name="connsiteX52" fmla="*/ 2558693 w 3184526"/>
              <a:gd name="connsiteY52" fmla="*/ 6553486 h 6858000"/>
              <a:gd name="connsiteX53" fmla="*/ 2510418 w 3184526"/>
              <a:gd name="connsiteY53" fmla="*/ 6553486 h 6858000"/>
              <a:gd name="connsiteX54" fmla="*/ 2428439 w 3184526"/>
              <a:gd name="connsiteY54" fmla="*/ 6553453 h 6858000"/>
              <a:gd name="connsiteX55" fmla="*/ 2405812 w 3184526"/>
              <a:gd name="connsiteY55" fmla="*/ 6557679 h 6858000"/>
              <a:gd name="connsiteX56" fmla="*/ 2397676 w 3184526"/>
              <a:gd name="connsiteY56" fmla="*/ 6561806 h 6858000"/>
              <a:gd name="connsiteX57" fmla="*/ 2373310 w 3184526"/>
              <a:gd name="connsiteY57" fmla="*/ 6613372 h 6858000"/>
              <a:gd name="connsiteX58" fmla="*/ 2376915 w 3184526"/>
              <a:gd name="connsiteY58" fmla="*/ 6629852 h 6858000"/>
              <a:gd name="connsiteX59" fmla="*/ 2404957 w 3184526"/>
              <a:gd name="connsiteY59" fmla="*/ 6658585 h 6858000"/>
              <a:gd name="connsiteX60" fmla="*/ 2427442 w 3184526"/>
              <a:gd name="connsiteY60" fmla="*/ 6662811 h 6858000"/>
              <a:gd name="connsiteX61" fmla="*/ 2450012 w 3184526"/>
              <a:gd name="connsiteY61" fmla="*/ 6658585 h 6858000"/>
              <a:gd name="connsiteX62" fmla="*/ 2467452 w 3184526"/>
              <a:gd name="connsiteY62" fmla="*/ 6647106 h 6858000"/>
              <a:gd name="connsiteX63" fmla="*/ 2478766 w 3184526"/>
              <a:gd name="connsiteY63" fmla="*/ 6629852 h 6858000"/>
              <a:gd name="connsiteX64" fmla="*/ 2482784 w 3184526"/>
              <a:gd name="connsiteY64" fmla="*/ 6608203 h 6858000"/>
              <a:gd name="connsiteX65" fmla="*/ 2478923 w 3184526"/>
              <a:gd name="connsiteY65" fmla="*/ 6586469 h 6858000"/>
              <a:gd name="connsiteX66" fmla="*/ 2467965 w 3184526"/>
              <a:gd name="connsiteY66" fmla="*/ 6569158 h 6858000"/>
              <a:gd name="connsiteX67" fmla="*/ 2450867 w 3184526"/>
              <a:gd name="connsiteY67" fmla="*/ 6557679 h 6858000"/>
              <a:gd name="connsiteX68" fmla="*/ 2428439 w 3184526"/>
              <a:gd name="connsiteY68" fmla="*/ 6553453 h 6858000"/>
              <a:gd name="connsiteX69" fmla="*/ 2285729 w 3184526"/>
              <a:gd name="connsiteY69" fmla="*/ 6553106 h 6858000"/>
              <a:gd name="connsiteX70" fmla="*/ 2302072 w 3184526"/>
              <a:gd name="connsiteY70" fmla="*/ 6587178 h 6858000"/>
              <a:gd name="connsiteX71" fmla="*/ 2329031 w 3184526"/>
              <a:gd name="connsiteY71" fmla="*/ 6587178 h 6858000"/>
              <a:gd name="connsiteX72" fmla="*/ 2314682 w 3184526"/>
              <a:gd name="connsiteY72" fmla="*/ 6553106 h 6858000"/>
              <a:gd name="connsiteX73" fmla="*/ 2365579 w 3184526"/>
              <a:gd name="connsiteY73" fmla="*/ 6553092 h 6858000"/>
              <a:gd name="connsiteX74" fmla="*/ 2339889 w 3184526"/>
              <a:gd name="connsiteY74" fmla="*/ 6612222 h 6858000"/>
              <a:gd name="connsiteX75" fmla="*/ 2332921 w 3184526"/>
              <a:gd name="connsiteY75" fmla="*/ 6595883 h 6858000"/>
              <a:gd name="connsiteX76" fmla="*/ 2306176 w 3184526"/>
              <a:gd name="connsiteY76" fmla="*/ 6595883 h 6858000"/>
              <a:gd name="connsiteX77" fmla="*/ 2338108 w 3184526"/>
              <a:gd name="connsiteY77" fmla="*/ 6662548 h 6858000"/>
              <a:gd name="connsiteX78" fmla="*/ 2341071 w 3184526"/>
              <a:gd name="connsiteY78" fmla="*/ 6662548 h 6858000"/>
              <a:gd name="connsiteX79" fmla="*/ 2392809 w 3184526"/>
              <a:gd name="connsiteY79" fmla="*/ 6553092 h 6858000"/>
              <a:gd name="connsiteX80" fmla="*/ 2744808 w 3184526"/>
              <a:gd name="connsiteY80" fmla="*/ 6515554 h 6858000"/>
              <a:gd name="connsiteX81" fmla="*/ 2744808 w 3184526"/>
              <a:gd name="connsiteY81" fmla="*/ 6690482 h 6858000"/>
              <a:gd name="connsiteX82" fmla="*/ 2764197 w 3184526"/>
              <a:gd name="connsiteY82" fmla="*/ 6690482 h 6858000"/>
              <a:gd name="connsiteX83" fmla="*/ 2764197 w 3184526"/>
              <a:gd name="connsiteY83" fmla="*/ 6515554 h 6858000"/>
              <a:gd name="connsiteX84" fmla="*/ 0 w 3184526"/>
              <a:gd name="connsiteY84" fmla="*/ 0 h 6858000"/>
              <a:gd name="connsiteX85" fmla="*/ 3184526 w 3184526"/>
              <a:gd name="connsiteY85" fmla="*/ 0 h 6858000"/>
              <a:gd name="connsiteX86" fmla="*/ 3184526 w 3184526"/>
              <a:gd name="connsiteY86" fmla="*/ 6200776 h 6858000"/>
              <a:gd name="connsiteX87" fmla="*/ 3184526 w 3184526"/>
              <a:gd name="connsiteY87" fmla="*/ 6397151 h 6858000"/>
              <a:gd name="connsiteX88" fmla="*/ 3184526 w 3184526"/>
              <a:gd name="connsiteY88" fmla="*/ 6434962 h 6858000"/>
              <a:gd name="connsiteX89" fmla="*/ 3184526 w 3184526"/>
              <a:gd name="connsiteY89" fmla="*/ 6488089 h 6858000"/>
              <a:gd name="connsiteX90" fmla="*/ 3184526 w 3184526"/>
              <a:gd name="connsiteY90" fmla="*/ 6858000 h 6858000"/>
              <a:gd name="connsiteX91" fmla="*/ 3036055 w 3184526"/>
              <a:gd name="connsiteY91" fmla="*/ 6858000 h 6858000"/>
              <a:gd name="connsiteX92" fmla="*/ 1965244 w 3184526"/>
              <a:gd name="connsiteY92" fmla="*/ 6858000 h 6858000"/>
              <a:gd name="connsiteX93" fmla="*/ 5158 w 3184526"/>
              <a:gd name="connsiteY93" fmla="*/ 6858000 h 6858000"/>
              <a:gd name="connsiteX94" fmla="*/ 5158 w 3184526"/>
              <a:gd name="connsiteY94" fmla="*/ 6488089 h 6858000"/>
              <a:gd name="connsiteX95" fmla="*/ 0 w 3184526"/>
              <a:gd name="connsiteY95" fmla="*/ 648808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84526" h="6858000">
                <a:moveTo>
                  <a:pt x="2422261" y="6576022"/>
                </a:moveTo>
                <a:cubicBezTo>
                  <a:pt x="2427911" y="6574829"/>
                  <a:pt x="2433939" y="6575385"/>
                  <a:pt x="2439468" y="6577877"/>
                </a:cubicBezTo>
                <a:cubicBezTo>
                  <a:pt x="2442887" y="6579495"/>
                  <a:pt x="2445922" y="6581808"/>
                  <a:pt x="2448373" y="6584666"/>
                </a:cubicBezTo>
                <a:cubicBezTo>
                  <a:pt x="2450913" y="6587723"/>
                  <a:pt x="2452846" y="6591226"/>
                  <a:pt x="2454073" y="6594991"/>
                </a:cubicBezTo>
                <a:cubicBezTo>
                  <a:pt x="2455478" y="6599255"/>
                  <a:pt x="2456166" y="6603718"/>
                  <a:pt x="2456110" y="6608203"/>
                </a:cubicBezTo>
                <a:cubicBezTo>
                  <a:pt x="2456191" y="6612635"/>
                  <a:pt x="2455537" y="6617051"/>
                  <a:pt x="2454172" y="6621274"/>
                </a:cubicBezTo>
                <a:cubicBezTo>
                  <a:pt x="2452937" y="6625056"/>
                  <a:pt x="2451004" y="6628580"/>
                  <a:pt x="2448473" y="6631669"/>
                </a:cubicBezTo>
                <a:cubicBezTo>
                  <a:pt x="2440498" y="6640715"/>
                  <a:pt x="2427454" y="6643500"/>
                  <a:pt x="2416413" y="6638514"/>
                </a:cubicBezTo>
                <a:cubicBezTo>
                  <a:pt x="2412949" y="6636911"/>
                  <a:pt x="2409884" y="6634574"/>
                  <a:pt x="2407436" y="6631669"/>
                </a:cubicBezTo>
                <a:cubicBezTo>
                  <a:pt x="2404905" y="6628580"/>
                  <a:pt x="2402972" y="6625056"/>
                  <a:pt x="2401737" y="6621274"/>
                </a:cubicBezTo>
                <a:cubicBezTo>
                  <a:pt x="2400295" y="6617063"/>
                  <a:pt x="2399564" y="6612647"/>
                  <a:pt x="2399571" y="6608203"/>
                </a:cubicBezTo>
                <a:cubicBezTo>
                  <a:pt x="2399519" y="6603717"/>
                  <a:pt x="2400212" y="6599254"/>
                  <a:pt x="2401623" y="6594991"/>
                </a:cubicBezTo>
                <a:cubicBezTo>
                  <a:pt x="2402849" y="6591226"/>
                  <a:pt x="2404783" y="6587723"/>
                  <a:pt x="2407322" y="6584666"/>
                </a:cubicBezTo>
                <a:cubicBezTo>
                  <a:pt x="2411339" y="6580158"/>
                  <a:pt x="2416611" y="6577215"/>
                  <a:pt x="2422261" y="6576022"/>
                </a:cubicBezTo>
                <a:close/>
                <a:moveTo>
                  <a:pt x="2566159" y="6553486"/>
                </a:moveTo>
                <a:lnTo>
                  <a:pt x="2566159" y="6599432"/>
                </a:lnTo>
                <a:lnTo>
                  <a:pt x="2566159" y="6662773"/>
                </a:lnTo>
                <a:lnTo>
                  <a:pt x="2636149" y="6662773"/>
                </a:lnTo>
                <a:lnTo>
                  <a:pt x="2636548" y="6662773"/>
                </a:lnTo>
                <a:lnTo>
                  <a:pt x="2636548" y="6645772"/>
                </a:lnTo>
                <a:lnTo>
                  <a:pt x="2636149" y="6645772"/>
                </a:lnTo>
                <a:lnTo>
                  <a:pt x="2636149" y="6639674"/>
                </a:lnTo>
                <a:lnTo>
                  <a:pt x="2591821" y="6639674"/>
                </a:lnTo>
                <a:lnTo>
                  <a:pt x="2591821" y="6618349"/>
                </a:lnTo>
                <a:lnTo>
                  <a:pt x="2632231" y="6618349"/>
                </a:lnTo>
                <a:lnTo>
                  <a:pt x="2632231" y="6596277"/>
                </a:lnTo>
                <a:lnTo>
                  <a:pt x="2591821" y="6596277"/>
                </a:lnTo>
                <a:lnTo>
                  <a:pt x="2591821" y="6576755"/>
                </a:lnTo>
                <a:lnTo>
                  <a:pt x="2636149" y="6576755"/>
                </a:lnTo>
                <a:lnTo>
                  <a:pt x="2636149" y="6570487"/>
                </a:lnTo>
                <a:lnTo>
                  <a:pt x="2636548" y="6570487"/>
                </a:lnTo>
                <a:lnTo>
                  <a:pt x="2636548" y="6553486"/>
                </a:lnTo>
                <a:lnTo>
                  <a:pt x="2636149" y="6553486"/>
                </a:lnTo>
                <a:lnTo>
                  <a:pt x="2587888" y="6553486"/>
                </a:lnTo>
                <a:close/>
                <a:moveTo>
                  <a:pt x="2488703" y="6553486"/>
                </a:moveTo>
                <a:lnTo>
                  <a:pt x="2488703" y="6599432"/>
                </a:lnTo>
                <a:lnTo>
                  <a:pt x="2488703" y="6662773"/>
                </a:lnTo>
                <a:lnTo>
                  <a:pt x="2558693" y="6662773"/>
                </a:lnTo>
                <a:lnTo>
                  <a:pt x="2559078" y="6662773"/>
                </a:lnTo>
                <a:lnTo>
                  <a:pt x="2559078" y="6645772"/>
                </a:lnTo>
                <a:lnTo>
                  <a:pt x="2558693" y="6645772"/>
                </a:lnTo>
                <a:lnTo>
                  <a:pt x="2558693" y="6639674"/>
                </a:lnTo>
                <a:lnTo>
                  <a:pt x="2514351" y="6639674"/>
                </a:lnTo>
                <a:lnTo>
                  <a:pt x="2514351" y="6618349"/>
                </a:lnTo>
                <a:lnTo>
                  <a:pt x="2554761" y="6618349"/>
                </a:lnTo>
                <a:lnTo>
                  <a:pt x="2554761" y="6596277"/>
                </a:lnTo>
                <a:lnTo>
                  <a:pt x="2514351" y="6596277"/>
                </a:lnTo>
                <a:lnTo>
                  <a:pt x="2514351" y="6576755"/>
                </a:lnTo>
                <a:lnTo>
                  <a:pt x="2558693" y="6576755"/>
                </a:lnTo>
                <a:lnTo>
                  <a:pt x="2558693" y="6570487"/>
                </a:lnTo>
                <a:lnTo>
                  <a:pt x="2559078" y="6570487"/>
                </a:lnTo>
                <a:lnTo>
                  <a:pt x="2559078" y="6553486"/>
                </a:lnTo>
                <a:lnTo>
                  <a:pt x="2558693" y="6553486"/>
                </a:lnTo>
                <a:lnTo>
                  <a:pt x="2510418" y="6553486"/>
                </a:lnTo>
                <a:close/>
                <a:moveTo>
                  <a:pt x="2428439" y="6553453"/>
                </a:moveTo>
                <a:cubicBezTo>
                  <a:pt x="2420688" y="6553369"/>
                  <a:pt x="2412997" y="6554805"/>
                  <a:pt x="2405812" y="6557679"/>
                </a:cubicBezTo>
                <a:cubicBezTo>
                  <a:pt x="2402989" y="6558830"/>
                  <a:pt x="2400268" y="6560211"/>
                  <a:pt x="2397676" y="6561806"/>
                </a:cubicBezTo>
                <a:lnTo>
                  <a:pt x="2373310" y="6613372"/>
                </a:lnTo>
                <a:cubicBezTo>
                  <a:pt x="2373704" y="6619008"/>
                  <a:pt x="2374918" y="6624558"/>
                  <a:pt x="2376915" y="6629852"/>
                </a:cubicBezTo>
                <a:cubicBezTo>
                  <a:pt x="2381719" y="6642926"/>
                  <a:pt x="2391911" y="6653370"/>
                  <a:pt x="2404957" y="6658585"/>
                </a:cubicBezTo>
                <a:cubicBezTo>
                  <a:pt x="2412090" y="6661469"/>
                  <a:pt x="2419736" y="6662906"/>
                  <a:pt x="2427442" y="6662811"/>
                </a:cubicBezTo>
                <a:cubicBezTo>
                  <a:pt x="2435174" y="6662898"/>
                  <a:pt x="2442847" y="6661462"/>
                  <a:pt x="2450012" y="6658585"/>
                </a:cubicBezTo>
                <a:cubicBezTo>
                  <a:pt x="2456539" y="6655943"/>
                  <a:pt x="2462469" y="6652041"/>
                  <a:pt x="2467452" y="6647106"/>
                </a:cubicBezTo>
                <a:cubicBezTo>
                  <a:pt x="2472376" y="6642179"/>
                  <a:pt x="2476226" y="6636306"/>
                  <a:pt x="2478766" y="6629852"/>
                </a:cubicBezTo>
                <a:cubicBezTo>
                  <a:pt x="2481500" y="6622958"/>
                  <a:pt x="2482864" y="6615607"/>
                  <a:pt x="2482784" y="6608203"/>
                </a:cubicBezTo>
                <a:cubicBezTo>
                  <a:pt x="2482854" y="6600785"/>
                  <a:pt x="2481545" y="6593419"/>
                  <a:pt x="2478923" y="6586469"/>
                </a:cubicBezTo>
                <a:cubicBezTo>
                  <a:pt x="2476493" y="6580025"/>
                  <a:pt x="2472765" y="6574136"/>
                  <a:pt x="2467965" y="6569158"/>
                </a:cubicBezTo>
                <a:cubicBezTo>
                  <a:pt x="2463123" y="6564212"/>
                  <a:pt x="2457303" y="6560305"/>
                  <a:pt x="2450867" y="6557679"/>
                </a:cubicBezTo>
                <a:cubicBezTo>
                  <a:pt x="2443756" y="6554789"/>
                  <a:pt x="2436127" y="6553352"/>
                  <a:pt x="2428439" y="6553453"/>
                </a:cubicBezTo>
                <a:close/>
                <a:moveTo>
                  <a:pt x="2285729" y="6553106"/>
                </a:moveTo>
                <a:lnTo>
                  <a:pt x="2302072" y="6587178"/>
                </a:lnTo>
                <a:lnTo>
                  <a:pt x="2329031" y="6587178"/>
                </a:lnTo>
                <a:lnTo>
                  <a:pt x="2314682" y="6553106"/>
                </a:lnTo>
                <a:close/>
                <a:moveTo>
                  <a:pt x="2365579" y="6553092"/>
                </a:moveTo>
                <a:lnTo>
                  <a:pt x="2339889" y="6612222"/>
                </a:lnTo>
                <a:lnTo>
                  <a:pt x="2332921" y="6595883"/>
                </a:lnTo>
                <a:lnTo>
                  <a:pt x="2306176" y="6595883"/>
                </a:lnTo>
                <a:lnTo>
                  <a:pt x="2338108" y="6662548"/>
                </a:lnTo>
                <a:lnTo>
                  <a:pt x="2341071" y="6662548"/>
                </a:lnTo>
                <a:lnTo>
                  <a:pt x="2392809" y="6553092"/>
                </a:lnTo>
                <a:close/>
                <a:moveTo>
                  <a:pt x="2744808" y="6515554"/>
                </a:moveTo>
                <a:lnTo>
                  <a:pt x="2744808" y="6690482"/>
                </a:lnTo>
                <a:lnTo>
                  <a:pt x="2764197" y="6690482"/>
                </a:lnTo>
                <a:lnTo>
                  <a:pt x="2764197" y="6515554"/>
                </a:lnTo>
                <a:close/>
                <a:moveTo>
                  <a:pt x="0" y="0"/>
                </a:moveTo>
                <a:lnTo>
                  <a:pt x="3184526" y="0"/>
                </a:lnTo>
                <a:lnTo>
                  <a:pt x="3184526" y="6200776"/>
                </a:lnTo>
                <a:lnTo>
                  <a:pt x="3184526" y="6397151"/>
                </a:lnTo>
                <a:lnTo>
                  <a:pt x="3184526" y="6434962"/>
                </a:lnTo>
                <a:lnTo>
                  <a:pt x="3184526" y="6488089"/>
                </a:lnTo>
                <a:lnTo>
                  <a:pt x="3184526" y="6858000"/>
                </a:lnTo>
                <a:lnTo>
                  <a:pt x="3036055" y="6858000"/>
                </a:lnTo>
                <a:lnTo>
                  <a:pt x="1965244" y="6858000"/>
                </a:lnTo>
                <a:lnTo>
                  <a:pt x="5158" y="6858000"/>
                </a:lnTo>
                <a:lnTo>
                  <a:pt x="5158" y="6488089"/>
                </a:lnTo>
                <a:lnTo>
                  <a:pt x="0" y="6488089"/>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366245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dirty="0"/>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516308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dirty="0"/>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847198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78" name="Picture Placeholder 77">
            <a:extLst>
              <a:ext uri="{FF2B5EF4-FFF2-40B4-BE49-F238E27FC236}">
                <a16:creationId xmlns:a16="http://schemas.microsoft.com/office/drawing/2014/main" id="{8899C19D-002F-AA43-B794-D3EAED42F093}"/>
              </a:ext>
            </a:extLst>
          </p:cNvPr>
          <p:cNvSpPr>
            <a:spLocks noGrp="1"/>
          </p:cNvSpPr>
          <p:nvPr>
            <p:ph type="pic" sz="quarter" idx="1004" hasCustomPrompt="1"/>
          </p:nvPr>
        </p:nvSpPr>
        <p:spPr>
          <a:xfrm>
            <a:off x="0" y="1"/>
            <a:ext cx="9144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6702490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55" name="Picture Placeholder 54">
            <a:extLst>
              <a:ext uri="{FF2B5EF4-FFF2-40B4-BE49-F238E27FC236}">
                <a16:creationId xmlns:a16="http://schemas.microsoft.com/office/drawing/2014/main" id="{07BBE168-1AF7-B444-B06D-63574329D9FB}"/>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397151 h 6858000"/>
              <a:gd name="connsiteX87" fmla="*/ 9144000 w 9144000"/>
              <a:gd name="connsiteY87" fmla="*/ 6434962 h 6858000"/>
              <a:gd name="connsiteX88" fmla="*/ 9144000 w 9144000"/>
              <a:gd name="connsiteY88" fmla="*/ 6858000 h 6858000"/>
              <a:gd name="connsiteX89" fmla="*/ 8995529 w 9144000"/>
              <a:gd name="connsiteY89" fmla="*/ 6858000 h 6858000"/>
              <a:gd name="connsiteX90" fmla="*/ 7924718 w 9144000"/>
              <a:gd name="connsiteY90" fmla="*/ 6858000 h 6858000"/>
              <a:gd name="connsiteX91" fmla="*/ 0 w 9144000"/>
              <a:gd name="connsiteY91" fmla="*/ 6858000 h 6858000"/>
              <a:gd name="connsiteX92" fmla="*/ 0 w 9144000"/>
              <a:gd name="connsiteY92" fmla="*/ 6434962 h 6858000"/>
              <a:gd name="connsiteX93" fmla="*/ 0 w 9144000"/>
              <a:gd name="connsiteY93" fmla="*/ 639715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397151"/>
                </a:lnTo>
                <a:lnTo>
                  <a:pt x="9144000" y="6434962"/>
                </a:lnTo>
                <a:lnTo>
                  <a:pt x="9144000" y="6858000"/>
                </a:lnTo>
                <a:lnTo>
                  <a:pt x="8995529" y="6858000"/>
                </a:lnTo>
                <a:lnTo>
                  <a:pt x="7924718" y="6858000"/>
                </a:lnTo>
                <a:lnTo>
                  <a:pt x="0" y="6858000"/>
                </a:lnTo>
                <a:lnTo>
                  <a:pt x="0" y="6434962"/>
                </a:lnTo>
                <a:lnTo>
                  <a:pt x="0" y="6397151"/>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1720900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47AC9F2B-9FA3-B946-AE1F-F9768BBA8DF6}"/>
              </a:ext>
            </a:extLst>
          </p:cNvPr>
          <p:cNvSpPr>
            <a:spLocks noGrp="1"/>
          </p:cNvSpPr>
          <p:nvPr>
            <p:ph type="pic" sz="quarter" idx="1002" hasCustomPrompt="1"/>
          </p:nvPr>
        </p:nvSpPr>
        <p:spPr>
          <a:xfrm>
            <a:off x="-1753" y="-5203"/>
            <a:ext cx="9147507"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4895143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91" name="Picture Placeholder 90">
            <a:extLst>
              <a:ext uri="{FF2B5EF4-FFF2-40B4-BE49-F238E27FC236}">
                <a16:creationId xmlns:a16="http://schemas.microsoft.com/office/drawing/2014/main" id="{5813E178-2C8A-7D4D-A0E0-3B5D1960D360}"/>
              </a:ext>
            </a:extLst>
          </p:cNvPr>
          <p:cNvSpPr>
            <a:spLocks noGrp="1"/>
          </p:cNvSpPr>
          <p:nvPr>
            <p:ph type="pic" sz="quarter" idx="1002" hasCustomPrompt="1"/>
          </p:nvPr>
        </p:nvSpPr>
        <p:spPr>
          <a:xfrm>
            <a:off x="-7261" y="-5203"/>
            <a:ext cx="9147507"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4123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597058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24481479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373173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30756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915817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dirty="0"/>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dirty="0"/>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8670780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page reference. Paste in overflow footnotes.</a:t>
            </a:r>
          </a:p>
          <a:p>
            <a:pPr lvl="1"/>
            <a:r>
              <a:rPr lang="en-US" dirty="0"/>
              <a:t>Second level</a:t>
            </a:r>
          </a:p>
          <a:p>
            <a:pPr lvl="2"/>
            <a:r>
              <a:rPr lang="en-US" dirty="0"/>
              <a:t>Third level</a:t>
            </a:r>
          </a:p>
          <a:p>
            <a:pPr lvl="3"/>
            <a:r>
              <a:rPr lang="en-US" dirty="0"/>
              <a:t>Fourth level</a:t>
            </a:r>
          </a:p>
          <a:p>
            <a:pPr lvl="4"/>
            <a:r>
              <a:rPr lang="en-US" dirty="0"/>
              <a:t>Fifth level</a:t>
            </a:r>
            <a:endParaRPr lang="en-US" sz="1400" dirty="0">
              <a:latin typeface="Arial" charset="0"/>
              <a:cs typeface="Arial" charset="0"/>
            </a:endParaRPr>
          </a:p>
          <a:p>
            <a:pPr lvl="5"/>
            <a:r>
              <a:rPr lang="en-US" dirty="0">
                <a:latin typeface="Arial" charset="0"/>
                <a:cs typeface="Arial" charset="0"/>
              </a:rPr>
              <a:t>Sixth level</a:t>
            </a:r>
          </a:p>
          <a:p>
            <a:pPr lvl="6"/>
            <a:r>
              <a:rPr lang="en-US" dirty="0">
                <a:latin typeface="Arial" charset="0"/>
                <a:cs typeface="Arial" charset="0"/>
              </a:rPr>
              <a:t>Seventh level</a:t>
            </a:r>
          </a:p>
          <a:p>
            <a:pPr lvl="7"/>
            <a:r>
              <a:rPr lang="en-US" dirty="0">
                <a:latin typeface="Arial" charset="0"/>
                <a:cs typeface="Arial" charset="0"/>
              </a:rPr>
              <a:t>Eighth level</a:t>
            </a:r>
          </a:p>
          <a:p>
            <a:pPr lvl="8"/>
            <a:r>
              <a:rPr lang="en-US" dirty="0">
                <a:latin typeface="Arial" charset="0"/>
                <a:cs typeface="Arial" charset="0"/>
              </a:rPr>
              <a:t>Ninth level</a:t>
            </a:r>
            <a:endParaRPr lang="en-US" dirty="0"/>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44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123A1A90-4696-7C42-B7AA-8B8C9D33FA1E}"/>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9020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48" name="Freeform 47">
            <a:extLst>
              <a:ext uri="{FF2B5EF4-FFF2-40B4-BE49-F238E27FC236}">
                <a16:creationId xmlns:a16="http://schemas.microsoft.com/office/drawing/2014/main" id="{C03A9194-4143-4341-BD04-5CC4B8AD8B99}"/>
              </a:ext>
            </a:extLst>
          </p:cNvPr>
          <p:cNvSpPr/>
          <p:nvPr userDrawn="1"/>
        </p:nvSpPr>
        <p:spPr>
          <a:xfrm>
            <a:off x="0" y="6200775"/>
            <a:ext cx="9144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0023617"/>
      </p:ext>
    </p:extLst>
  </p:cSld>
  <p:clrMapOvr>
    <a:overrideClrMapping bg1="lt1" tx1="dk1" bg2="lt2" tx2="dk2" accent1="accent1" accent2="accent2" accent3="accent3" accent4="accent4" accent5="accent5" accent6="accent6" hlink="lt1" folHlink="lt1"/>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62" name="Picture Placeholder 61">
            <a:extLst>
              <a:ext uri="{FF2B5EF4-FFF2-40B4-BE49-F238E27FC236}">
                <a16:creationId xmlns:a16="http://schemas.microsoft.com/office/drawing/2014/main" id="{612C77EC-2A54-F64F-BCF8-8B49176B9502}"/>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dirty="0"/>
              <a:t>Click to add</a:t>
            </a:r>
            <a:br>
              <a:rPr lang="en-US" dirty="0"/>
            </a:br>
            <a:r>
              <a:rPr lang="en-US" dirty="0"/>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93795943"/>
      </p:ext>
    </p:extLst>
  </p:cSld>
  <p:clrMapOvr>
    <a:overrideClrMapping bg1="lt1" tx1="dk1" bg2="lt2" tx2="dk2" accent1="accent1" accent2="accent2" accent3="accent3" accent4="accent4" accent5="accent5" accent6="accent6" hlink="lt1" folHlink="lt1"/>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dirty="0"/>
              <a:t>Click to add</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7"/>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91" name="Picture 90">
            <a:extLst>
              <a:ext uri="{FF2B5EF4-FFF2-40B4-BE49-F238E27FC236}">
                <a16:creationId xmlns:a16="http://schemas.microsoft.com/office/drawing/2014/main" id="{7A3CC9EA-91E6-CC48-98F7-A3B3DA6A399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27194" y="6070430"/>
            <a:ext cx="1599497" cy="329184"/>
          </a:xfrm>
          <a:prstGeom prst="rect">
            <a:avLst/>
          </a:prstGeom>
        </p:spPr>
      </p:pic>
    </p:spTree>
    <p:extLst>
      <p:ext uri="{BB962C8B-B14F-4D97-AF65-F5344CB8AC3E}">
        <p14:creationId xmlns:p14="http://schemas.microsoft.com/office/powerpoint/2010/main" val="2952025671"/>
      </p:ext>
    </p:extLst>
  </p:cSld>
  <p:clrMapOvr>
    <a:overrideClrMapping bg1="lt1" tx1="dk1" bg2="lt2" tx2="dk2" accent1="accent1" accent2="accent2" accent3="accent3" accent4="accent4" accent5="accent5" accent6="accent6" hlink="lt1" folHlink="lt1"/>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70" name="Picture 69">
            <a:extLst>
              <a:ext uri="{FF2B5EF4-FFF2-40B4-BE49-F238E27FC236}">
                <a16:creationId xmlns:a16="http://schemas.microsoft.com/office/drawing/2014/main" id="{E80CBB95-58F7-334A-AAED-55EE796BE9B6}"/>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27194" y="6070430"/>
            <a:ext cx="1599497" cy="329184"/>
          </a:xfrm>
          <a:prstGeom prst="rect">
            <a:avLst/>
          </a:prstGeom>
        </p:spPr>
      </p:pic>
    </p:spTree>
    <p:extLst>
      <p:ext uri="{BB962C8B-B14F-4D97-AF65-F5344CB8AC3E}">
        <p14:creationId xmlns:p14="http://schemas.microsoft.com/office/powerpoint/2010/main" val="22821204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1842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59" name="Picture 58">
            <a:extLst>
              <a:ext uri="{FF2B5EF4-FFF2-40B4-BE49-F238E27FC236}">
                <a16:creationId xmlns:a16="http://schemas.microsoft.com/office/drawing/2014/main" id="{70511143-D3FD-C648-B7CB-BA3839BDB33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27194" y="6070430"/>
            <a:ext cx="1599497" cy="329184"/>
          </a:xfrm>
          <a:prstGeom prst="rect">
            <a:avLst/>
          </a:prstGeom>
        </p:spPr>
      </p:pic>
    </p:spTree>
    <p:extLst>
      <p:ext uri="{BB962C8B-B14F-4D97-AF65-F5344CB8AC3E}">
        <p14:creationId xmlns:p14="http://schemas.microsoft.com/office/powerpoint/2010/main" val="13043886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64715932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DC91A9-44DF-1D4A-9BC8-11C36820A1EA}"/>
              </a:ext>
            </a:extLst>
          </p:cNvPr>
          <p:cNvSpPr>
            <a:spLocks noGrp="1"/>
          </p:cNvSpPr>
          <p:nvPr>
            <p:ph type="dt" sz="half" idx="10"/>
          </p:nvPr>
        </p:nvSpPr>
        <p:spPr/>
        <p:txBody>
          <a:bodyPr/>
          <a:lstStyle/>
          <a:p>
            <a:fld id="{B7C0293F-9E4D-E240-9172-99514F236333}" type="datetimeFigureOut">
              <a:rPr lang="en-US" smtClean="0"/>
              <a:t>9/20/2022</a:t>
            </a:fld>
            <a:endParaRPr lang="en-US" dirty="0"/>
          </a:p>
        </p:txBody>
      </p:sp>
      <p:sp>
        <p:nvSpPr>
          <p:cNvPr id="3" name="Footer Placeholder 2">
            <a:extLst>
              <a:ext uri="{FF2B5EF4-FFF2-40B4-BE49-F238E27FC236}">
                <a16:creationId xmlns:a16="http://schemas.microsoft.com/office/drawing/2014/main" id="{D18AACAE-8081-5540-B122-959862B053C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0CF2732-1F89-E141-9CCC-C3891FDF4116}"/>
              </a:ext>
            </a:extLst>
          </p:cNvPr>
          <p:cNvSpPr>
            <a:spLocks noGrp="1"/>
          </p:cNvSpPr>
          <p:nvPr>
            <p:ph type="sldNum" sz="quarter" idx="12"/>
          </p:nvPr>
        </p:nvSpPr>
        <p:spPr/>
        <p:txBody>
          <a:bodyPr/>
          <a:lstStyle/>
          <a:p>
            <a:fld id="{1C846329-FAC2-C348-953A-645E663D4F80}" type="slidenum">
              <a:rPr lang="en-US" smtClean="0"/>
              <a:t>‹#›</a:t>
            </a:fld>
            <a:endParaRPr lang="en-US" dirty="0"/>
          </a:p>
        </p:txBody>
      </p:sp>
    </p:spTree>
    <p:extLst>
      <p:ext uri="{BB962C8B-B14F-4D97-AF65-F5344CB8AC3E}">
        <p14:creationId xmlns:p14="http://schemas.microsoft.com/office/powerpoint/2010/main" val="970970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9D16650F-B8A3-FC4A-A2ED-7C5C7D17A2AE}"/>
              </a:ext>
            </a:extLst>
          </p:cNvPr>
          <p:cNvSpPr>
            <a:spLocks noGrp="1"/>
          </p:cNvSpPr>
          <p:nvPr>
            <p:ph type="pic" sz="quarter" idx="10" hasCustomPrompt="1"/>
          </p:nvPr>
        </p:nvSpPr>
        <p:spPr>
          <a:xfrm>
            <a:off x="0" y="1112838"/>
            <a:ext cx="9144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dirty="0"/>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dirty="0"/>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2247864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CF7DB4E3-860A-7649-B01C-09F1FF325704}"/>
              </a:ext>
            </a:extLst>
          </p:cNvPr>
          <p:cNvSpPr>
            <a:spLocks noGrp="1"/>
          </p:cNvSpPr>
          <p:nvPr>
            <p:ph type="pic" sz="quarter" idx="10" hasCustomPrompt="1"/>
          </p:nvPr>
        </p:nvSpPr>
        <p:spPr>
          <a:xfrm>
            <a:off x="0" y="0"/>
            <a:ext cx="9144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dirty="0"/>
              <a:t>Click to add section title.</a:t>
            </a:r>
            <a:br>
              <a:rPr lang="en-US" dirty="0"/>
            </a:br>
            <a:r>
              <a:rPr lang="en-US" dirty="0"/>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23825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36136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7784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813739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2">
            <a:lum/>
          </a:blip>
          <a:srcRect/>
          <a:stretch>
            <a:fillRect/>
          </a:stretch>
        </a:blipFill>
        <a:effectLst/>
      </p:bgPr>
    </p:bg>
    <p:spTree>
      <p:nvGrpSpPr>
        <p:cNvPr id="1" name=""/>
        <p:cNvGrpSpPr/>
        <p:nvPr/>
      </p:nvGrpSpPr>
      <p:grpSpPr>
        <a:xfrm>
          <a:off x="0" y="0"/>
          <a:ext cx="0" cy="0"/>
          <a:chOff x="0" y="0"/>
          <a:chExt cx="0" cy="0"/>
        </a:xfrm>
      </p:grpSpPr>
      <p:sp>
        <p:nvSpPr>
          <p:cNvPr id="110" name="Freeform 109">
            <a:extLst>
              <a:ext uri="{FF2B5EF4-FFF2-40B4-BE49-F238E27FC236}">
                <a16:creationId xmlns:a16="http://schemas.microsoft.com/office/drawing/2014/main" id="{B7C26CD4-FD5C-CD47-A4A6-348CBFB3FA1C}"/>
              </a:ext>
            </a:extLst>
          </p:cNvPr>
          <p:cNvSpPr/>
          <p:nvPr userDrawn="1"/>
        </p:nvSpPr>
        <p:spPr>
          <a:xfrm>
            <a:off x="0" y="6200775"/>
            <a:ext cx="9144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1"/>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dirty="0"/>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Subheading (first level)</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a:p>
            <a:pPr lvl="5"/>
            <a:r>
              <a:rPr lang="en-US" dirty="0"/>
              <a:t>Dashed bullet (sixth level)</a:t>
            </a:r>
          </a:p>
          <a:p>
            <a:pPr lvl="6"/>
            <a:r>
              <a:rPr lang="en-US" dirty="0"/>
              <a:t>Dashed bullet (seventh level)</a:t>
            </a:r>
          </a:p>
          <a:p>
            <a:pPr lvl="7"/>
            <a:r>
              <a:rPr lang="en-US" dirty="0"/>
              <a:t>Dashed bullet (eighth level)</a:t>
            </a:r>
          </a:p>
          <a:p>
            <a:pPr lvl="8"/>
            <a:r>
              <a:rPr lang="en-US" dirty="0"/>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717954282"/>
      </p:ext>
    </p:extLst>
  </p:cSld>
  <p:clrMap bg1="lt1" tx1="dk1" bg2="lt2" tx2="dk2" accent1="accent1" accent2="accent2" accent3="accent3" accent4="accent4" accent5="accent5" accent6="accent6" hlink="hlink" folHlink="folHlink"/>
  <p:sldLayoutIdLst>
    <p:sldLayoutId id="2147483673" r:id="rId1"/>
    <p:sldLayoutId id="2147483676"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30" r:id="rId36"/>
    <p:sldLayoutId id="2147483713" r:id="rId37"/>
    <p:sldLayoutId id="2147483714" r:id="rId38"/>
    <p:sldLayoutId id="2147483715" r:id="rId39"/>
    <p:sldLayoutId id="2147483716" r:id="rId40"/>
    <p:sldLayoutId id="2147483717" r:id="rId41"/>
    <p:sldLayoutId id="2147483718" r:id="rId42"/>
    <p:sldLayoutId id="2147483719" r:id="rId43"/>
    <p:sldLayoutId id="2147483720" r:id="rId44"/>
    <p:sldLayoutId id="2147483723" r:id="rId45"/>
    <p:sldLayoutId id="2147483726" r:id="rId46"/>
    <p:sldLayoutId id="2147483727" r:id="rId47"/>
    <p:sldLayoutId id="2147483731" r:id="rId48"/>
    <p:sldLayoutId id="2147483732" r:id="rId49"/>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8" Type="http://schemas.openxmlformats.org/officeDocument/2006/relationships/hyperlink" Target="https://budget.lis.virginia.gov/amendment/2022/2/HB30/Introduced/CR/364/1c/" TargetMode="External"/><Relationship Id="rId3" Type="http://schemas.openxmlformats.org/officeDocument/2006/relationships/image" Target="../media/image55.png"/><Relationship Id="rId7" Type="http://schemas.openxmlformats.org/officeDocument/2006/relationships/hyperlink" Target="https://budget.lis.virginia.gov/amendment/2022/2/HB30/Introduced/CR/115/3c/"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budget.lis.virginia.gov/amendment/2022/2/HB29/Introduced/CR/114/1c/" TargetMode="External"/><Relationship Id="rId5" Type="http://schemas.openxmlformats.org/officeDocument/2006/relationships/hyperlink" Target="https://budget.lis.virginia.gov/amendment/2022/2/HB30/Introduced/CR/125/9c/" TargetMode="External"/><Relationship Id="rId10" Type="http://schemas.openxmlformats.org/officeDocument/2006/relationships/hyperlink" Target="https://budget.lis.virginia.gov/amendment/2022/2/HB30/Introduced/CR/487.50/1c/" TargetMode="External"/><Relationship Id="rId4" Type="http://schemas.openxmlformats.org/officeDocument/2006/relationships/image" Target="../media/image56.svg"/><Relationship Id="rId9" Type="http://schemas.openxmlformats.org/officeDocument/2006/relationships/hyperlink" Target="https://budget.lis.virginia.gov/amendment/2022/2/HB30/Introduced/CR/213/1c/"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hyperlink" Target="https://budget.lis.virginia.gov/amendment/2022/2/HB30/Introduced/CR/487.50/1c/" TargetMode="External"/><Relationship Id="rId4" Type="http://schemas.openxmlformats.org/officeDocument/2006/relationships/image" Target="../media/image56.svg"/></Relationships>
</file>

<file path=ppt/slides/_rels/slide13.xml.rels><?xml version="1.0" encoding="UTF-8" standalone="yes"?>
<Relationships xmlns="http://schemas.openxmlformats.org/package/2006/relationships"><Relationship Id="rId3" Type="http://schemas.openxmlformats.org/officeDocument/2006/relationships/hyperlink" Target="mailto:hmckay@vedp.org" TargetMode="External"/><Relationship Id="rId2" Type="http://schemas.openxmlformats.org/officeDocument/2006/relationships/image" Target="../media/image57.jpe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4.xml"/><Relationship Id="rId7" Type="http://schemas.openxmlformats.org/officeDocument/2006/relationships/image" Target="../media/image36.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11" Type="http://schemas.openxmlformats.org/officeDocument/2006/relationships/oleObject" Target="../embeddings/oleObject4.bin"/><Relationship Id="rId5" Type="http://schemas.openxmlformats.org/officeDocument/2006/relationships/notesSlide" Target="../notesSlides/notesSlide2.xml"/><Relationship Id="rId10" Type="http://schemas.openxmlformats.org/officeDocument/2006/relationships/image" Target="../media/image38.emf"/><Relationship Id="rId4" Type="http://schemas.openxmlformats.org/officeDocument/2006/relationships/slideLayout" Target="../slideLayouts/slideLayout24.xml"/><Relationship Id="rId9"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43.svg"/><Relationship Id="rId11" Type="http://schemas.openxmlformats.org/officeDocument/2006/relationships/image" Target="../media/image48.jpeg"/><Relationship Id="rId5" Type="http://schemas.openxmlformats.org/officeDocument/2006/relationships/image" Target="../media/image42.png"/><Relationship Id="rId10" Type="http://schemas.openxmlformats.org/officeDocument/2006/relationships/image" Target="../media/image47.jpeg"/><Relationship Id="rId4" Type="http://schemas.openxmlformats.org/officeDocument/2006/relationships/image" Target="../media/image41.svg"/><Relationship Id="rId9" Type="http://schemas.openxmlformats.org/officeDocument/2006/relationships/image" Target="../media/image46.jpeg"/></Relationships>
</file>

<file path=ppt/slides/_rels/slide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8.xml"/><Relationship Id="rId1" Type="http://schemas.openxmlformats.org/officeDocument/2006/relationships/tags" Target="../tags/tag5.xml"/><Relationship Id="rId6" Type="http://schemas.openxmlformats.org/officeDocument/2006/relationships/image" Target="../media/image53.jpg"/><Relationship Id="rId5" Type="http://schemas.openxmlformats.org/officeDocument/2006/relationships/image" Target="../media/image36.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icture containing sky, outdoor, grass, field&#10;&#10;Description automatically generated">
            <a:extLst>
              <a:ext uri="{FF2B5EF4-FFF2-40B4-BE49-F238E27FC236}">
                <a16:creationId xmlns:a16="http://schemas.microsoft.com/office/drawing/2014/main" id="{01A0C2CF-B1C1-4969-84D5-D45959E43BAD}"/>
              </a:ext>
            </a:extLst>
          </p:cNvPr>
          <p:cNvPicPr>
            <a:picLocks noGrp="1" noChangeAspect="1"/>
          </p:cNvPicPr>
          <p:nvPr>
            <p:ph type="pic" sz="quarter" idx="25"/>
          </p:nvPr>
        </p:nvPicPr>
        <p:blipFill rotWithShape="1">
          <a:blip r:embed="rId3">
            <a:extLst>
              <a:ext uri="{28A0092B-C50C-407E-A947-70E740481C1C}">
                <a14:useLocalDpi xmlns:a14="http://schemas.microsoft.com/office/drawing/2010/main" val="0"/>
              </a:ext>
            </a:extLst>
          </a:blip>
          <a:srcRect t="18845" b="18845"/>
          <a:stretch/>
        </p:blipFill>
        <p:spPr>
          <a:xfrm>
            <a:off x="-1" y="0"/>
            <a:ext cx="9144001" cy="5696907"/>
          </a:xfrm>
        </p:spPr>
      </p:pic>
      <p:sp>
        <p:nvSpPr>
          <p:cNvPr id="14" name="Text Placeholder 13">
            <a:extLst>
              <a:ext uri="{FF2B5EF4-FFF2-40B4-BE49-F238E27FC236}">
                <a16:creationId xmlns:a16="http://schemas.microsoft.com/office/drawing/2014/main" id="{5BFD8533-BB9C-4A59-9B96-916BD9ED3F4A}"/>
              </a:ext>
            </a:extLst>
          </p:cNvPr>
          <p:cNvSpPr>
            <a:spLocks noGrp="1"/>
          </p:cNvSpPr>
          <p:nvPr>
            <p:ph type="body" sz="quarter" idx="500"/>
          </p:nvPr>
        </p:nvSpPr>
        <p:spPr>
          <a:xfrm>
            <a:off x="6673517" y="5204025"/>
            <a:ext cx="2254584" cy="304699"/>
          </a:xfrm>
        </p:spPr>
        <p:txBody>
          <a:bodyPr/>
          <a:lstStyle/>
          <a:p>
            <a:r>
              <a:rPr lang="en-US" dirty="0"/>
              <a:t>Beaver Dam Farm, </a:t>
            </a:r>
            <a:br>
              <a:rPr lang="en-US" dirty="0"/>
            </a:br>
            <a:r>
              <a:rPr lang="en-US" dirty="0"/>
              <a:t>Roanoke Region </a:t>
            </a:r>
          </a:p>
        </p:txBody>
      </p:sp>
      <p:sp>
        <p:nvSpPr>
          <p:cNvPr id="4" name="Title 3">
            <a:extLst>
              <a:ext uri="{FF2B5EF4-FFF2-40B4-BE49-F238E27FC236}">
                <a16:creationId xmlns:a16="http://schemas.microsoft.com/office/drawing/2014/main" id="{4FB68C05-A3C4-462F-A8EE-8E06A814B643}"/>
              </a:ext>
            </a:extLst>
          </p:cNvPr>
          <p:cNvSpPr>
            <a:spLocks noGrp="1"/>
          </p:cNvSpPr>
          <p:nvPr>
            <p:ph type="title"/>
          </p:nvPr>
        </p:nvSpPr>
        <p:spPr/>
        <p:txBody>
          <a:bodyPr/>
          <a:lstStyle/>
          <a:p>
            <a:r>
              <a:rPr lang="en-US" sz="3300" dirty="0"/>
              <a:t>Virginia Office </a:t>
            </a:r>
            <a:br>
              <a:rPr lang="en-US" sz="3300" dirty="0"/>
            </a:br>
            <a:r>
              <a:rPr lang="en-US" sz="3300" dirty="0"/>
              <a:t>of Education Economics (VOEE) Data Activities </a:t>
            </a:r>
            <a:endParaRPr lang="en-CA" sz="3300" dirty="0"/>
          </a:p>
        </p:txBody>
      </p:sp>
      <p:sp>
        <p:nvSpPr>
          <p:cNvPr id="13" name="Text Placeholder 12">
            <a:extLst>
              <a:ext uri="{FF2B5EF4-FFF2-40B4-BE49-F238E27FC236}">
                <a16:creationId xmlns:a16="http://schemas.microsoft.com/office/drawing/2014/main" id="{04C81C78-73D1-41E0-9FBF-F3BF2E03D8D1}"/>
              </a:ext>
            </a:extLst>
          </p:cNvPr>
          <p:cNvSpPr>
            <a:spLocks noGrp="1"/>
          </p:cNvSpPr>
          <p:nvPr>
            <p:ph type="body" sz="quarter" idx="26"/>
          </p:nvPr>
        </p:nvSpPr>
        <p:spPr/>
        <p:txBody>
          <a:bodyPr/>
          <a:lstStyle/>
          <a:p>
            <a:r>
              <a:rPr lang="en-US" dirty="0"/>
              <a:t>September 20, 2022</a:t>
            </a:r>
          </a:p>
        </p:txBody>
      </p:sp>
      <p:sp>
        <p:nvSpPr>
          <p:cNvPr id="3" name="TextBox 2">
            <a:extLst>
              <a:ext uri="{FF2B5EF4-FFF2-40B4-BE49-F238E27FC236}">
                <a16:creationId xmlns:a16="http://schemas.microsoft.com/office/drawing/2014/main" id="{D9C1D780-CF86-1943-80ED-F90A86D83547}"/>
              </a:ext>
            </a:extLst>
          </p:cNvPr>
          <p:cNvSpPr txBox="1"/>
          <p:nvPr/>
        </p:nvSpPr>
        <p:spPr>
          <a:xfrm>
            <a:off x="8378687" y="6559826"/>
            <a:ext cx="65" cy="215444"/>
          </a:xfrm>
          <a:prstGeom prst="rect">
            <a:avLst/>
          </a:prstGeom>
        </p:spPr>
        <p:txBody>
          <a:bodyPr vert="horz" wrap="none" lIns="0" tIns="0" rIns="0" bIns="0" rtlCol="0" anchor="t">
            <a:spAutoFit/>
          </a:bodyPr>
          <a:lstStyle/>
          <a:p>
            <a:pPr algn="l"/>
            <a:endParaRPr lang="en-US" sz="1400" dirty="0">
              <a:latin typeface="Arial" charset="0"/>
              <a:ea typeface="Arial" charset="0"/>
              <a:cs typeface="Arial" charset="0"/>
            </a:endParaRPr>
          </a:p>
        </p:txBody>
      </p:sp>
    </p:spTree>
    <p:extLst>
      <p:ext uri="{BB962C8B-B14F-4D97-AF65-F5344CB8AC3E}">
        <p14:creationId xmlns:p14="http://schemas.microsoft.com/office/powerpoint/2010/main" val="300548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working on a computer&#10;&#10;Description automatically generated with low confidence">
            <a:extLst>
              <a:ext uri="{FF2B5EF4-FFF2-40B4-BE49-F238E27FC236}">
                <a16:creationId xmlns:a16="http://schemas.microsoft.com/office/drawing/2014/main" id="{65ECEF23-B08A-4C74-1459-2E6317362F1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874" b="2874"/>
          <a:stretch>
            <a:fillRect/>
          </a:stretch>
        </p:blipFill>
        <p:spPr/>
      </p:pic>
      <p:sp>
        <p:nvSpPr>
          <p:cNvPr id="3" name="Text Placeholder 2">
            <a:extLst>
              <a:ext uri="{FF2B5EF4-FFF2-40B4-BE49-F238E27FC236}">
                <a16:creationId xmlns:a16="http://schemas.microsoft.com/office/drawing/2014/main" id="{7AE24D5C-49C5-4B54-0E95-68A638393926}"/>
              </a:ext>
            </a:extLst>
          </p:cNvPr>
          <p:cNvSpPr>
            <a:spLocks noGrp="1"/>
          </p:cNvSpPr>
          <p:nvPr>
            <p:ph type="body" sz="quarter" idx="200"/>
          </p:nvPr>
        </p:nvSpPr>
        <p:spPr/>
        <p:txBody>
          <a:bodyPr/>
          <a:lstStyle/>
          <a:p>
            <a:r>
              <a:rPr lang="en-US" sz="1800" dirty="0">
                <a:solidFill>
                  <a:schemeClr val="accent5"/>
                </a:solidFill>
              </a:rPr>
              <a:t>Career Navigation in K-12 </a:t>
            </a:r>
          </a:p>
          <a:p>
            <a:pPr marL="285750" indent="-285750">
              <a:buFont typeface="Arial" panose="020B0604020202020204" pitchFamily="34" charset="0"/>
              <a:buChar char="•"/>
            </a:pPr>
            <a:r>
              <a:rPr lang="en-US" sz="1800" b="0" dirty="0"/>
              <a:t>OECD is beginning research in Virginia in September to examine best practices in career navigation and make recommendations</a:t>
            </a:r>
          </a:p>
          <a:p>
            <a:r>
              <a:rPr lang="en-US" sz="1800" dirty="0">
                <a:solidFill>
                  <a:schemeClr val="accent5"/>
                </a:solidFill>
              </a:rPr>
              <a:t>Virginia Infrastructure Academy </a:t>
            </a:r>
          </a:p>
          <a:p>
            <a:pPr marL="285750" indent="-285750">
              <a:lnSpc>
                <a:spcPct val="100000"/>
              </a:lnSpc>
              <a:buFont typeface="Arial" panose="020B0604020202020204" pitchFamily="34" charset="0"/>
              <a:buChar char="•"/>
            </a:pPr>
            <a:r>
              <a:rPr lang="en-US" sz="1800" b="0" dirty="0"/>
              <a:t>Great partnership with VCCS</a:t>
            </a:r>
          </a:p>
          <a:p>
            <a:pPr marL="285750" indent="-285750">
              <a:lnSpc>
                <a:spcPct val="100000"/>
              </a:lnSpc>
              <a:buFont typeface="Arial" panose="020B0604020202020204" pitchFamily="34" charset="0"/>
              <a:buChar char="•"/>
            </a:pPr>
            <a:r>
              <a:rPr lang="en-US" sz="1800" b="0" dirty="0"/>
              <a:t>Example of how VOEE can help with labor market information for projects </a:t>
            </a:r>
          </a:p>
          <a:p>
            <a:endParaRPr lang="en-US" dirty="0"/>
          </a:p>
        </p:txBody>
      </p:sp>
      <p:sp>
        <p:nvSpPr>
          <p:cNvPr id="4" name="Title 3">
            <a:extLst>
              <a:ext uri="{FF2B5EF4-FFF2-40B4-BE49-F238E27FC236}">
                <a16:creationId xmlns:a16="http://schemas.microsoft.com/office/drawing/2014/main" id="{07DF1D57-FF5D-54C4-1816-CD82034A7672}"/>
              </a:ext>
            </a:extLst>
          </p:cNvPr>
          <p:cNvSpPr>
            <a:spLocks noGrp="1"/>
          </p:cNvSpPr>
          <p:nvPr>
            <p:ph type="title"/>
          </p:nvPr>
        </p:nvSpPr>
        <p:spPr/>
        <p:txBody>
          <a:bodyPr/>
          <a:lstStyle/>
          <a:p>
            <a:r>
              <a:rPr lang="en-US" dirty="0"/>
              <a:t>Other Research Activities </a:t>
            </a:r>
          </a:p>
        </p:txBody>
      </p:sp>
      <p:sp>
        <p:nvSpPr>
          <p:cNvPr id="5" name="Subtitle 4">
            <a:extLst>
              <a:ext uri="{FF2B5EF4-FFF2-40B4-BE49-F238E27FC236}">
                <a16:creationId xmlns:a16="http://schemas.microsoft.com/office/drawing/2014/main" id="{34DDFEBA-FD39-CC5C-4E64-D134BEC7218E}"/>
              </a:ext>
            </a:extLst>
          </p:cNvPr>
          <p:cNvSpPr>
            <a:spLocks noGrp="1"/>
          </p:cNvSpPr>
          <p:nvPr>
            <p:ph type="subTitle" sz="quarter" idx="1000"/>
          </p:nvPr>
        </p:nvSpPr>
        <p:spPr/>
        <p:txBody>
          <a:bodyPr/>
          <a:lstStyle/>
          <a:p>
            <a:endParaRPr lang="en-US"/>
          </a:p>
        </p:txBody>
      </p:sp>
      <p:sp>
        <p:nvSpPr>
          <p:cNvPr id="6" name="Text Placeholder 5">
            <a:extLst>
              <a:ext uri="{FF2B5EF4-FFF2-40B4-BE49-F238E27FC236}">
                <a16:creationId xmlns:a16="http://schemas.microsoft.com/office/drawing/2014/main" id="{29C79D86-B249-8D51-07AE-8A36D98C9864}"/>
              </a:ext>
            </a:extLst>
          </p:cNvPr>
          <p:cNvSpPr>
            <a:spLocks noGrp="1"/>
          </p:cNvSpPr>
          <p:nvPr>
            <p:ph type="body" sz="quarter" idx="500"/>
          </p:nvPr>
        </p:nvSpPr>
        <p:spPr/>
        <p:txBody>
          <a:bodyPr/>
          <a:lstStyle/>
          <a:p>
            <a:r>
              <a:rPr lang="en-US" dirty="0"/>
              <a:t>Mar-Bal, Inc. </a:t>
            </a:r>
          </a:p>
        </p:txBody>
      </p:sp>
      <p:sp>
        <p:nvSpPr>
          <p:cNvPr id="7" name="Slide Number Placeholder 6">
            <a:extLst>
              <a:ext uri="{FF2B5EF4-FFF2-40B4-BE49-F238E27FC236}">
                <a16:creationId xmlns:a16="http://schemas.microsoft.com/office/drawing/2014/main" id="{C5973AFC-589A-4181-9C1F-52632751B38D}"/>
              </a:ext>
            </a:extLst>
          </p:cNvPr>
          <p:cNvSpPr>
            <a:spLocks noGrp="1"/>
          </p:cNvSpPr>
          <p:nvPr>
            <p:ph type="sldNum" sz="quarter" idx="112"/>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9</a:t>
            </a:fld>
            <a:endParaRPr lang="en-US" dirty="0"/>
          </a:p>
        </p:txBody>
      </p:sp>
    </p:spTree>
    <p:extLst>
      <p:ext uri="{BB962C8B-B14F-4D97-AF65-F5344CB8AC3E}">
        <p14:creationId xmlns:p14="http://schemas.microsoft.com/office/powerpoint/2010/main" val="2542359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1">
            <a:extLst>
              <a:ext uri="{FF2B5EF4-FFF2-40B4-BE49-F238E27FC236}">
                <a16:creationId xmlns:a16="http://schemas.microsoft.com/office/drawing/2014/main" id="{4F9A5F42-19E0-4A40-A629-386772666155}"/>
              </a:ext>
            </a:extLst>
          </p:cNvPr>
          <p:cNvGraphicFramePr>
            <a:graphicFrameLocks noGrp="1"/>
          </p:cNvGraphicFramePr>
          <p:nvPr>
            <p:ph sz="quarter" idx="200"/>
            <p:extLst>
              <p:ext uri="{D42A27DB-BD31-4B8C-83A1-F6EECF244321}">
                <p14:modId xmlns:p14="http://schemas.microsoft.com/office/powerpoint/2010/main" val="1898531452"/>
              </p:ext>
            </p:extLst>
          </p:nvPr>
        </p:nvGraphicFramePr>
        <p:xfrm>
          <a:off x="431800" y="1233488"/>
          <a:ext cx="8280401" cy="4980078"/>
        </p:xfrm>
        <a:graphic>
          <a:graphicData uri="http://schemas.openxmlformats.org/drawingml/2006/table">
            <a:tbl>
              <a:tblPr firstRow="1" firstCol="1" bandRow="1">
                <a:tableStyleId>{73A6DA28-BB08-4E28-94E8-AB53A02DD50B}</a:tableStyleId>
              </a:tblPr>
              <a:tblGrid>
                <a:gridCol w="345827">
                  <a:extLst>
                    <a:ext uri="{9D8B030D-6E8A-4147-A177-3AD203B41FA5}">
                      <a16:colId xmlns:a16="http://schemas.microsoft.com/office/drawing/2014/main" val="1431377812"/>
                    </a:ext>
                  </a:extLst>
                </a:gridCol>
                <a:gridCol w="1899750">
                  <a:extLst>
                    <a:ext uri="{9D8B030D-6E8A-4147-A177-3AD203B41FA5}">
                      <a16:colId xmlns:a16="http://schemas.microsoft.com/office/drawing/2014/main" val="1622367381"/>
                    </a:ext>
                  </a:extLst>
                </a:gridCol>
                <a:gridCol w="3651705">
                  <a:extLst>
                    <a:ext uri="{9D8B030D-6E8A-4147-A177-3AD203B41FA5}">
                      <a16:colId xmlns:a16="http://schemas.microsoft.com/office/drawing/2014/main" val="4276031452"/>
                    </a:ext>
                  </a:extLst>
                </a:gridCol>
                <a:gridCol w="849901">
                  <a:extLst>
                    <a:ext uri="{9D8B030D-6E8A-4147-A177-3AD203B41FA5}">
                      <a16:colId xmlns:a16="http://schemas.microsoft.com/office/drawing/2014/main" val="1530213184"/>
                    </a:ext>
                  </a:extLst>
                </a:gridCol>
                <a:gridCol w="766609">
                  <a:extLst>
                    <a:ext uri="{9D8B030D-6E8A-4147-A177-3AD203B41FA5}">
                      <a16:colId xmlns:a16="http://schemas.microsoft.com/office/drawing/2014/main" val="1891856790"/>
                    </a:ext>
                  </a:extLst>
                </a:gridCol>
                <a:gridCol w="766609">
                  <a:extLst>
                    <a:ext uri="{9D8B030D-6E8A-4147-A177-3AD203B41FA5}">
                      <a16:colId xmlns:a16="http://schemas.microsoft.com/office/drawing/2014/main" val="3505419970"/>
                    </a:ext>
                  </a:extLst>
                </a:gridCol>
              </a:tblGrid>
              <a:tr h="238438">
                <a:tc rowSpan="2">
                  <a:txBody>
                    <a:bodyPr/>
                    <a:lstStyle/>
                    <a:p>
                      <a:endParaRPr lang="en-US" sz="1000" dirty="0"/>
                    </a:p>
                  </a:txBody>
                  <a:tcPr anchor="b">
                    <a:lnR w="0" cmpd="sng">
                      <a:noFill/>
                    </a:lnR>
                  </a:tcPr>
                </a:tc>
                <a:tc rowSpan="2">
                  <a:txBody>
                    <a:bodyPr/>
                    <a:lstStyle/>
                    <a:p>
                      <a:r>
                        <a:rPr lang="en-US" sz="1000" dirty="0"/>
                        <a:t>Initiative (Item)</a:t>
                      </a:r>
                    </a:p>
                  </a:txBody>
                  <a:tcPr anchor="b">
                    <a:lnL w="0" cmpd="sng">
                      <a:noFill/>
                    </a:lnL>
                    <a:lnR w="0" cmpd="sng">
                      <a:noFill/>
                    </a:lnR>
                  </a:tcPr>
                </a:tc>
                <a:tc rowSpan="2">
                  <a:txBody>
                    <a:bodyPr/>
                    <a:lstStyle/>
                    <a:p>
                      <a:r>
                        <a:rPr lang="en-US" sz="1000" dirty="0"/>
                        <a:t>Description</a:t>
                      </a:r>
                    </a:p>
                  </a:txBody>
                  <a:tcPr anchor="b">
                    <a:lnL w="0" cmpd="sng">
                      <a:noFill/>
                    </a:lnL>
                    <a:lnR w="0" cmpd="sng">
                      <a:noFill/>
                    </a:lnR>
                  </a:tcPr>
                </a:tc>
                <a:tc gridSpan="3">
                  <a:txBody>
                    <a:bodyPr/>
                    <a:lstStyle/>
                    <a:p>
                      <a:pPr algn="ctr"/>
                      <a:r>
                        <a:rPr lang="en-US" sz="1000" dirty="0"/>
                        <a:t>Conference Report ($M)</a:t>
                      </a:r>
                    </a:p>
                  </a:txBody>
                  <a:tcPr marL="18288" marR="18288" anchor="b">
                    <a:lnL w="0" cmpd="sng">
                      <a:noFill/>
                    </a:lnL>
                    <a:lnR w="0" cmpd="sng">
                      <a:noFill/>
                    </a:lnR>
                    <a:lnT w="0" cmpd="sng">
                      <a:noFill/>
                    </a:lnT>
                    <a:lnB w="12700" cmpd="sng">
                      <a:noFill/>
                    </a:lnB>
                    <a:lnTlToBr w="12700" cmpd="sng">
                      <a:noFill/>
                      <a:prstDash val="solid"/>
                    </a:lnTlToBr>
                    <a:lnBlToTr w="12700" cmpd="sng">
                      <a:noFill/>
                      <a:prstDash val="solid"/>
                    </a:lnBlToTr>
                    <a:blipFill>
                      <a:blip r:embed="rId3">
                        <a:extLst>
                          <a:ext uri="{96DAC541-7B7A-43D3-8B79-37D633B846F1}">
                            <asvg:svgBlip xmlns:asvg="http://schemas.microsoft.com/office/drawing/2016/SVG/main" r:embed="rId4"/>
                          </a:ext>
                        </a:extLst>
                      </a:blip>
                      <a:stretch>
                        <a:fillRect/>
                      </a:stretch>
                    </a:blipFill>
                  </a:tcPr>
                </a:tc>
                <a:tc hMerge="1">
                  <a:txBody>
                    <a:bodyPr/>
                    <a:lstStyle/>
                    <a:p>
                      <a:pPr algn="ctr"/>
                      <a:endParaRPr lang="en-US" sz="1000"/>
                    </a:p>
                  </a:txBody>
                  <a:tcPr marL="18288" marR="18288" anchor="b">
                    <a:lnL w="0" cmpd="sng">
                      <a:noFill/>
                    </a:lnL>
                    <a:lnR w="0" cmpd="sng">
                      <a:noFill/>
                    </a:lnR>
                    <a:lnT w="0" cmpd="sng">
                      <a:noFill/>
                    </a:lnT>
                    <a:lnB w="12700" cmpd="sng">
                      <a:noFill/>
                    </a:lnB>
                    <a:lnTlToBr w="12700" cmpd="sng">
                      <a:noFill/>
                      <a:prstDash val="solid"/>
                    </a:lnTlToBr>
                    <a:lnBlToTr w="12700" cmpd="sng">
                      <a:noFill/>
                      <a:prstDash val="solid"/>
                    </a:lnBlToTr>
                    <a:blipFill>
                      <a:blip r:embed="rId3">
                        <a:extLst>
                          <a:ext uri="{96DAC541-7B7A-43D3-8B79-37D633B846F1}">
                            <asvg:svgBlip xmlns:asvg="http://schemas.microsoft.com/office/drawing/2016/SVG/main" r:embed="rId4"/>
                          </a:ext>
                        </a:extLst>
                      </a:blip>
                      <a:stretch>
                        <a:fillRect/>
                      </a:stretch>
                    </a:blipFill>
                  </a:tcPr>
                </a:tc>
                <a:tc hMerge="1">
                  <a:txBody>
                    <a:bodyPr/>
                    <a:lstStyle/>
                    <a:p>
                      <a:pPr algn="ctr"/>
                      <a:endParaRPr lang="en-US" sz="1000"/>
                    </a:p>
                  </a:txBody>
                  <a:tcPr marL="18288" marR="18288" anchor="b">
                    <a:lnL w="0" cmpd="sng">
                      <a:noFill/>
                    </a:lnL>
                    <a:lnR w="0" cmpd="sng">
                      <a:noFill/>
                    </a:lnR>
                    <a:lnT w="0" cmpd="sng">
                      <a:noFill/>
                    </a:lnT>
                    <a:lnB w="12700" cmpd="sng">
                      <a:noFill/>
                    </a:lnB>
                    <a:lnTlToBr w="12700" cmpd="sng">
                      <a:noFill/>
                      <a:prstDash val="solid"/>
                    </a:lnTlToBr>
                    <a:lnBlToTr w="12700" cmpd="sng">
                      <a:noFill/>
                      <a:prstDash val="solid"/>
                    </a:lnBlToTr>
                    <a:blipFill>
                      <a:blip r:embed="rId3">
                        <a:extLst>
                          <a:ext uri="{96DAC541-7B7A-43D3-8B79-37D633B846F1}">
                            <asvg:svgBlip xmlns:asvg="http://schemas.microsoft.com/office/drawing/2016/SVG/main" r:embed="rId4"/>
                          </a:ext>
                        </a:extLst>
                      </a:blip>
                      <a:stretch>
                        <a:fillRect/>
                      </a:stretch>
                    </a:blipFill>
                  </a:tcPr>
                </a:tc>
                <a:extLst>
                  <a:ext uri="{0D108BD9-81ED-4DB2-BD59-A6C34878D82A}">
                    <a16:rowId xmlns:a16="http://schemas.microsoft.com/office/drawing/2014/main" val="1331683666"/>
                  </a:ext>
                </a:extLst>
              </a:tr>
              <a:tr h="146731">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txBody>
                  <a:tcPr/>
                </a:tc>
                <a:tc vMerge="1">
                  <a:txBody>
                    <a:bodyPr/>
                    <a:lstStyle/>
                    <a:p>
                      <a:endParaRPr lang="en-US"/>
                    </a:p>
                  </a:txBody>
                  <a:tcPr/>
                </a:tc>
                <a:tc>
                  <a:txBody>
                    <a:bodyPr/>
                    <a:lstStyle/>
                    <a:p>
                      <a:pPr algn="r"/>
                      <a:r>
                        <a:rPr lang="en-US" sz="1000" b="1" dirty="0"/>
                        <a:t>FY22</a:t>
                      </a:r>
                    </a:p>
                  </a:txBody>
                  <a:tcPr anchor="b">
                    <a:lnL w="12700" cmpd="sng">
                      <a:noFill/>
                    </a:lnL>
                    <a:lnT w="12700" cmpd="sng">
                      <a:noFill/>
                    </a:lnT>
                    <a:lnB w="12700" cap="flat" cmpd="sng" algn="ctr">
                      <a:solidFill>
                        <a:schemeClr val="tx1"/>
                      </a:solidFill>
                      <a:prstDash val="solid"/>
                      <a:round/>
                      <a:headEnd type="none" w="med" len="med"/>
                      <a:tailEnd type="none" w="med" len="med"/>
                    </a:lnB>
                  </a:tcPr>
                </a:tc>
                <a:tc>
                  <a:txBody>
                    <a:bodyPr/>
                    <a:lstStyle/>
                    <a:p>
                      <a:pPr algn="r"/>
                      <a:r>
                        <a:rPr lang="en-US" sz="1000" b="1" dirty="0"/>
                        <a:t>FY23</a:t>
                      </a:r>
                    </a:p>
                  </a:txBody>
                  <a:tcPr anchor="b">
                    <a:lnT w="12700" cmpd="sng">
                      <a:noFill/>
                    </a:lnT>
                    <a:lnB w="12700" cap="flat" cmpd="sng" algn="ctr">
                      <a:solidFill>
                        <a:schemeClr val="tx1"/>
                      </a:solidFill>
                      <a:prstDash val="solid"/>
                      <a:round/>
                      <a:headEnd type="none" w="med" len="med"/>
                      <a:tailEnd type="none" w="med" len="med"/>
                    </a:lnB>
                  </a:tcPr>
                </a:tc>
                <a:tc>
                  <a:txBody>
                    <a:bodyPr/>
                    <a:lstStyle/>
                    <a:p>
                      <a:pPr algn="r"/>
                      <a:r>
                        <a:rPr lang="en-US" sz="1000" b="1" dirty="0"/>
                        <a:t>FY24</a:t>
                      </a:r>
                    </a:p>
                  </a:txBody>
                  <a:tcPr anchor="b">
                    <a:lnT w="12700" cmpd="sng">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0681500"/>
                  </a:ext>
                </a:extLst>
              </a:tr>
              <a:tr h="330145">
                <a:tc>
                  <a:txBody>
                    <a:bodyPr/>
                    <a:lstStyle/>
                    <a:p>
                      <a:pPr algn="ctr"/>
                      <a:r>
                        <a:rPr lang="en-US" sz="1000" dirty="0"/>
                        <a:t>VEDP</a:t>
                      </a:r>
                    </a:p>
                  </a:txBody>
                  <a:tcPr vert="vert270"/>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mn-lt"/>
                          <a:ea typeface="+mn-ea"/>
                          <a:cs typeface="+mn-cs"/>
                        </a:rPr>
                        <a:t>Offshore Wind/Maritime Talent Attraction Study (</a:t>
                      </a:r>
                      <a:r>
                        <a:rPr lang="en-US" sz="1000" kern="1200" dirty="0">
                          <a:solidFill>
                            <a:schemeClr val="dk1"/>
                          </a:solidFill>
                          <a:latin typeface="+mn-lt"/>
                          <a:ea typeface="+mn-ea"/>
                          <a:cs typeface="+mn-cs"/>
                          <a:hlinkClick r:id="rId5"/>
                        </a:rPr>
                        <a:t>125 #9c</a:t>
                      </a:r>
                      <a:r>
                        <a:rPr lang="en-US" sz="1000" kern="1200" dirty="0">
                          <a:solidFill>
                            <a:schemeClr val="dk1"/>
                          </a:solidFill>
                          <a:latin typeface="+mn-lt"/>
                          <a:ea typeface="+mn-ea"/>
                          <a:cs typeface="+mn-cs"/>
                        </a:rPr>
                        <a:t>)</a:t>
                      </a:r>
                    </a:p>
                  </a:txBody>
                  <a:tcPr marR="45720"/>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mn-lt"/>
                          <a:ea typeface="+mn-ea"/>
                          <a:cs typeface="+mn-cs"/>
                        </a:rPr>
                        <a:t>Complete a study of strategies to attract skilled out-of-state talent to fill maritime jobs in Hampton Roads in support of the shipbuilding, ship repair, and offshore wind industries by 11/1/22</a:t>
                      </a:r>
                    </a:p>
                  </a:txBody>
                  <a:tcPr marR="45720"/>
                </a:tc>
                <a:tc>
                  <a:txBody>
                    <a:bodyPr/>
                    <a:lstStyle/>
                    <a:p>
                      <a:pPr algn="r"/>
                      <a:endParaRPr lang="en-US" sz="1000" dirty="0"/>
                    </a:p>
                  </a:txBody>
                  <a:tcPr>
                    <a:lnT w="12700" cap="flat" cmpd="sng" algn="ctr">
                      <a:solidFill>
                        <a:schemeClr val="tx1"/>
                      </a:solidFill>
                      <a:prstDash val="solid"/>
                      <a:round/>
                      <a:headEnd type="none" w="med" len="med"/>
                      <a:tailEnd type="none" w="med" len="med"/>
                    </a:lnT>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0.2</a:t>
                      </a:r>
                    </a:p>
                  </a:txBody>
                  <a:tcPr>
                    <a:lnT w="12700" cap="flat" cmpd="sng" algn="ctr">
                      <a:solidFill>
                        <a:schemeClr val="tx1"/>
                      </a:solidFill>
                      <a:prstDash val="solid"/>
                      <a:round/>
                      <a:headEnd type="none" w="med" len="med"/>
                      <a:tailEnd type="none" w="med" len="med"/>
                    </a:lnT>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dk1"/>
                        </a:solidFill>
                        <a:latin typeface="+mn-lt"/>
                        <a:ea typeface="+mn-ea"/>
                        <a:cs typeface="+mn-cs"/>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19151962"/>
                  </a:ext>
                </a:extLst>
              </a:tr>
              <a:tr h="894080">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baseline="0" dirty="0">
                          <a:solidFill>
                            <a:schemeClr val="dk1"/>
                          </a:solidFill>
                          <a:latin typeface="+mn-lt"/>
                          <a:ea typeface="+mn-ea"/>
                          <a:cs typeface="+mn-cs"/>
                        </a:rPr>
                        <a:t>DHCD</a:t>
                      </a:r>
                    </a:p>
                  </a:txBody>
                  <a:tcPr vert="vert270"/>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mn-lt"/>
                          <a:ea typeface="+mn-ea"/>
                          <a:cs typeface="+mn-cs"/>
                        </a:rPr>
                        <a:t>GO Virginia Talent Pathways Planning (</a:t>
                      </a:r>
                      <a:r>
                        <a:rPr lang="en-US" sz="1000" kern="1200" dirty="0">
                          <a:solidFill>
                            <a:schemeClr val="dk1"/>
                          </a:solidFill>
                          <a:latin typeface="+mn-lt"/>
                          <a:ea typeface="+mn-ea"/>
                          <a:cs typeface="+mn-cs"/>
                          <a:hlinkClick r:id="rId6"/>
                        </a:rPr>
                        <a:t>114 #1c</a:t>
                      </a:r>
                      <a:r>
                        <a:rPr lang="en-US" sz="1000" kern="1200" dirty="0">
                          <a:solidFill>
                            <a:schemeClr val="dk1"/>
                          </a:solidFill>
                          <a:latin typeface="+mn-lt"/>
                          <a:ea typeface="+mn-ea"/>
                          <a:cs typeface="+mn-cs"/>
                        </a:rPr>
                        <a:t>/</a:t>
                      </a:r>
                      <a:r>
                        <a:rPr lang="en-US" sz="1000" kern="1200" dirty="0">
                          <a:solidFill>
                            <a:schemeClr val="dk1"/>
                          </a:solidFill>
                          <a:latin typeface="+mn-lt"/>
                          <a:ea typeface="+mn-ea"/>
                          <a:cs typeface="+mn-cs"/>
                          <a:hlinkClick r:id="rId7"/>
                        </a:rPr>
                        <a:t>115 #3c</a:t>
                      </a:r>
                      <a:r>
                        <a:rPr lang="en-US" sz="1000" kern="1200" dirty="0">
                          <a:solidFill>
                            <a:schemeClr val="dk1"/>
                          </a:solidFill>
                          <a:latin typeface="+mn-lt"/>
                          <a:ea typeface="+mn-ea"/>
                          <a:cs typeface="+mn-cs"/>
                        </a:rPr>
                        <a:t>)</a:t>
                      </a:r>
                    </a:p>
                  </a:txBody>
                  <a:tcPr marR="45720">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mn-lt"/>
                          <a:ea typeface="+mn-ea"/>
                          <a:cs typeface="+mn-cs"/>
                        </a:rPr>
                        <a:t>Provides grants to GO Virginia regions to identify business needs for workers in strategic industries. DHCD shall work with VOEE to make recommendations. VOEE shall provide analytical support to regional councils. The language continues in the biennium for any unspent one-time funds</a:t>
                      </a:r>
                    </a:p>
                  </a:txBody>
                  <a:tcPr marR="45720">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2.5</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Lang.</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Lang.</a:t>
                      </a:r>
                    </a:p>
                  </a:txBody>
                  <a:tcPr>
                    <a:noFill/>
                  </a:tcPr>
                </a:tc>
                <a:extLst>
                  <a:ext uri="{0D108BD9-81ED-4DB2-BD59-A6C34878D82A}">
                    <a16:rowId xmlns:a16="http://schemas.microsoft.com/office/drawing/2014/main" val="2005474351"/>
                  </a:ext>
                </a:extLst>
              </a:tr>
              <a:tr h="5807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DOLI</a:t>
                      </a:r>
                    </a:p>
                  </a:txBody>
                  <a:tcPr vert="vert270"/>
                </a:tc>
                <a:tc>
                  <a:txBody>
                    <a:bodyPr/>
                    <a:lstStyle/>
                    <a:p>
                      <a:r>
                        <a:rPr lang="en-US" sz="1000" dirty="0"/>
                        <a:t>Apprenticeship Data to Virginia Office of Education Economics (</a:t>
                      </a:r>
                      <a:r>
                        <a:rPr lang="en-US" sz="1000" dirty="0">
                          <a:hlinkClick r:id="rId8"/>
                        </a:rPr>
                        <a:t>364 #1c</a:t>
                      </a:r>
                      <a:r>
                        <a:rPr lang="en-US" sz="1000" dirty="0"/>
                        <a:t>)</a:t>
                      </a:r>
                    </a:p>
                  </a:txBody>
                  <a:tcPr marR="45720">
                    <a:noFill/>
                  </a:tcPr>
                </a:tc>
                <a:tc>
                  <a:txBody>
                    <a:bodyPr/>
                    <a:lstStyle/>
                    <a:p>
                      <a:r>
                        <a:rPr lang="en-US" sz="1000" dirty="0"/>
                        <a:t>Directs the Office of Registered Apprenticeship to provide data to the Virginia Office of Education Economics on or before December 31, 2022, and quarterly thereafter</a:t>
                      </a:r>
                    </a:p>
                  </a:txBody>
                  <a:tcPr marR="45720">
                    <a:noFill/>
                  </a:tcPr>
                </a:tc>
                <a:tc>
                  <a:txBody>
                    <a:bodyPr/>
                    <a:lstStyle/>
                    <a:p>
                      <a:pPr algn="r"/>
                      <a:endParaRPr lang="en-US" sz="1000" dirty="0"/>
                    </a:p>
                  </a:txBody>
                  <a:tcPr>
                    <a:noFill/>
                  </a:tcPr>
                </a:tc>
                <a:tc>
                  <a:txBody>
                    <a:bodyPr/>
                    <a:lstStyle/>
                    <a:p>
                      <a:pPr algn="r"/>
                      <a:r>
                        <a:rPr lang="en-US" sz="1000" dirty="0"/>
                        <a:t>Lang.</a:t>
                      </a:r>
                    </a:p>
                  </a:txBody>
                  <a:tcPr>
                    <a:noFill/>
                  </a:tcPr>
                </a:tc>
                <a:tc>
                  <a:txBody>
                    <a:bodyPr/>
                    <a:lstStyle/>
                    <a:p>
                      <a:pPr algn="r"/>
                      <a:r>
                        <a:rPr lang="en-US" sz="1000" dirty="0"/>
                        <a:t>Lang.</a:t>
                      </a:r>
                    </a:p>
                  </a:txBody>
                  <a:tcPr>
                    <a:noFill/>
                  </a:tcPr>
                </a:tc>
                <a:extLst>
                  <a:ext uri="{0D108BD9-81ED-4DB2-BD59-A6C34878D82A}">
                    <a16:rowId xmlns:a16="http://schemas.microsoft.com/office/drawing/2014/main" val="4112723322"/>
                  </a:ext>
                </a:extLst>
              </a:tr>
              <a:tr h="3301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VCCS</a:t>
                      </a:r>
                      <a:endParaRPr lang="en-US" sz="1000" b="0" kern="1200" baseline="0" dirty="0">
                        <a:solidFill>
                          <a:schemeClr val="dk1"/>
                        </a:solidFill>
                        <a:latin typeface="+mn-lt"/>
                        <a:ea typeface="+mn-ea"/>
                        <a:cs typeface="+mn-cs"/>
                      </a:endParaRPr>
                    </a:p>
                  </a:txBody>
                  <a:tcPr vert="vert270"/>
                </a:tc>
                <a:tc>
                  <a:txBody>
                    <a:bodyPr/>
                    <a:lstStyle/>
                    <a:p>
                      <a:r>
                        <a:rPr lang="en-US" sz="1000" dirty="0"/>
                        <a:t>G3 Missing Language (</a:t>
                      </a:r>
                      <a:r>
                        <a:rPr lang="en-US" sz="1000" dirty="0">
                          <a:hlinkClick r:id="rId9"/>
                        </a:rPr>
                        <a:t>213 #1c</a:t>
                      </a:r>
                      <a:r>
                        <a:rPr lang="en-US" sz="1000" dirty="0"/>
                        <a:t>)</a:t>
                      </a:r>
                    </a:p>
                  </a:txBody>
                  <a:tcPr marR="45720">
                    <a:solidFill>
                      <a:schemeClr val="bg1"/>
                    </a:solidFill>
                  </a:tcPr>
                </a:tc>
                <a:tc>
                  <a:txBody>
                    <a:bodyPr/>
                    <a:lstStyle/>
                    <a:p>
                      <a:r>
                        <a:rPr lang="en-US" sz="1000" dirty="0"/>
                        <a:t>Adds language that VOEE shall evaluate the skills and training needed for Virginians to fill jobs available in certified regional council areas. Based on the evaluation, VOEE will make recommendations to the Governor and GA what programs should be offered in each region that qualify for financial assistance under the G3 Program</a:t>
                      </a:r>
                    </a:p>
                  </a:txBody>
                  <a:tcPr marR="45720">
                    <a:solidFill>
                      <a:schemeClr val="bg1"/>
                    </a:solidFill>
                  </a:tcPr>
                </a:tc>
                <a:tc>
                  <a:txBody>
                    <a:bodyPr/>
                    <a:lstStyle/>
                    <a:p>
                      <a:pPr algn="r"/>
                      <a:endParaRPr lang="en-US" sz="1000" dirty="0"/>
                    </a:p>
                  </a:txBody>
                  <a:tcPr>
                    <a:solidFill>
                      <a:schemeClr val="bg1"/>
                    </a:solidFill>
                  </a:tcPr>
                </a:tc>
                <a:tc>
                  <a:txBody>
                    <a:bodyPr/>
                    <a:lstStyle/>
                    <a:p>
                      <a:pPr algn="r"/>
                      <a:r>
                        <a:rPr lang="en-US" sz="1000" dirty="0"/>
                        <a:t>Lang.</a:t>
                      </a:r>
                    </a:p>
                  </a:txBody>
                  <a:tcPr>
                    <a:solidFill>
                      <a:schemeClr val="bg1"/>
                    </a:solidFill>
                  </a:tcPr>
                </a:tc>
                <a:tc>
                  <a:txBody>
                    <a:bodyPr/>
                    <a:lstStyle/>
                    <a:p>
                      <a:pPr algn="r"/>
                      <a:r>
                        <a:rPr lang="en-US" sz="1000" dirty="0"/>
                        <a:t>Lang.</a:t>
                      </a:r>
                    </a:p>
                  </a:txBody>
                  <a:tcPr>
                    <a:solidFill>
                      <a:schemeClr val="bg1"/>
                    </a:solidFill>
                  </a:tcPr>
                </a:tc>
                <a:extLst>
                  <a:ext uri="{0D108BD9-81ED-4DB2-BD59-A6C34878D82A}">
                    <a16:rowId xmlns:a16="http://schemas.microsoft.com/office/drawing/2014/main" val="2925682968"/>
                  </a:ext>
                </a:extLst>
              </a:tr>
              <a:tr h="3301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Central Approps</a:t>
                      </a:r>
                      <a:r>
                        <a:rPr lang="en-US" sz="1000" b="0" kern="1200" baseline="0" dirty="0">
                          <a:solidFill>
                            <a:schemeClr val="dk1"/>
                          </a:solidFill>
                          <a:latin typeface="+mn-lt"/>
                          <a:ea typeface="+mn-ea"/>
                          <a:cs typeface="+mn-cs"/>
                        </a:rPr>
                        <a:t>.</a:t>
                      </a:r>
                    </a:p>
                  </a:txBody>
                  <a:tcPr vert="vert270"/>
                </a:tc>
                <a:tc>
                  <a:txBody>
                    <a:bodyPr/>
                    <a:lstStyle/>
                    <a:p>
                      <a:r>
                        <a:rPr lang="en-US" sz="1000" dirty="0"/>
                        <a:t>Workforce Development (</a:t>
                      </a:r>
                      <a:r>
                        <a:rPr lang="en-US" sz="1000" dirty="0">
                          <a:hlinkClick r:id="rId10"/>
                        </a:rPr>
                        <a:t>487.50 #1c</a:t>
                      </a:r>
                      <a:r>
                        <a:rPr lang="en-US" sz="1000" dirty="0"/>
                        <a:t>)</a:t>
                      </a:r>
                      <a:r>
                        <a:rPr lang="en-US" sz="1000" baseline="30000" dirty="0"/>
                        <a:t>1</a:t>
                      </a:r>
                    </a:p>
                  </a:txBody>
                  <a:tcPr marR="45720">
                    <a:solidFill>
                      <a:schemeClr val="bg1"/>
                    </a:solidFill>
                  </a:tcPr>
                </a:tc>
                <a:tc>
                  <a:txBody>
                    <a:bodyPr/>
                    <a:lstStyle/>
                    <a:p>
                      <a:r>
                        <a:rPr lang="en-US" sz="1000" dirty="0"/>
                        <a:t>Provides funding to support workforce development programming across Virginia including: $3M in FY23 and $10M in FY24 for the Innovative Internship Fund and Program at SCHEV, $8M in FY23 for G3 Innovation Grants at VCCS in collaboration with VOEE, and $2.5M for Advanced Manufacturing Talent Investment Program and Fund pilot at VEDP</a:t>
                      </a:r>
                    </a:p>
                    <a:p>
                      <a:endParaRPr lang="en-US" sz="1000" dirty="0"/>
                    </a:p>
                  </a:txBody>
                  <a:tcPr marR="45720">
                    <a:solidFill>
                      <a:schemeClr val="bg1"/>
                    </a:solidFill>
                  </a:tcPr>
                </a:tc>
                <a:tc>
                  <a:txBody>
                    <a:bodyPr/>
                    <a:lstStyle/>
                    <a:p>
                      <a:pPr algn="r"/>
                      <a:endParaRPr lang="en-US" sz="1000" dirty="0"/>
                    </a:p>
                  </a:txBody>
                  <a:tcPr>
                    <a:solidFill>
                      <a:schemeClr val="bg1"/>
                    </a:solidFill>
                  </a:tcPr>
                </a:tc>
                <a:tc>
                  <a:txBody>
                    <a:bodyPr/>
                    <a:lstStyle/>
                    <a:p>
                      <a:pPr algn="r"/>
                      <a:r>
                        <a:rPr lang="en-US" sz="1000" dirty="0"/>
                        <a:t>16.0</a:t>
                      </a:r>
                    </a:p>
                  </a:txBody>
                  <a:tcPr>
                    <a:solidFill>
                      <a:schemeClr val="bg1"/>
                    </a:solidFill>
                  </a:tcPr>
                </a:tc>
                <a:tc>
                  <a:txBody>
                    <a:bodyPr/>
                    <a:lstStyle/>
                    <a:p>
                      <a:pPr algn="r"/>
                      <a:r>
                        <a:rPr lang="en-US" sz="1000" dirty="0"/>
                        <a:t>17.0</a:t>
                      </a:r>
                    </a:p>
                  </a:txBody>
                  <a:tcPr>
                    <a:solidFill>
                      <a:schemeClr val="bg1"/>
                    </a:solidFill>
                  </a:tcPr>
                </a:tc>
                <a:extLst>
                  <a:ext uri="{0D108BD9-81ED-4DB2-BD59-A6C34878D82A}">
                    <a16:rowId xmlns:a16="http://schemas.microsoft.com/office/drawing/2014/main" val="2820707480"/>
                  </a:ext>
                </a:extLst>
              </a:tr>
            </a:tbl>
          </a:graphicData>
        </a:graphic>
      </p:graphicFrame>
      <p:sp>
        <p:nvSpPr>
          <p:cNvPr id="3" name="Title 2">
            <a:extLst>
              <a:ext uri="{FF2B5EF4-FFF2-40B4-BE49-F238E27FC236}">
                <a16:creationId xmlns:a16="http://schemas.microsoft.com/office/drawing/2014/main" id="{9D48809E-199A-4C7C-BF8F-3E28CD7932A3}"/>
              </a:ext>
            </a:extLst>
          </p:cNvPr>
          <p:cNvSpPr>
            <a:spLocks noGrp="1"/>
          </p:cNvSpPr>
          <p:nvPr>
            <p:ph type="title"/>
          </p:nvPr>
        </p:nvSpPr>
        <p:spPr/>
        <p:txBody>
          <a:bodyPr/>
          <a:lstStyle/>
          <a:p>
            <a:r>
              <a:rPr lang="en-US" dirty="0"/>
              <a:t>VOEE’s new initiatives from the 2022 General Assembly Sessions (1 of 2)</a:t>
            </a:r>
          </a:p>
        </p:txBody>
      </p:sp>
      <p:sp>
        <p:nvSpPr>
          <p:cNvPr id="8" name="Subtitle 7">
            <a:extLst>
              <a:ext uri="{FF2B5EF4-FFF2-40B4-BE49-F238E27FC236}">
                <a16:creationId xmlns:a16="http://schemas.microsoft.com/office/drawing/2014/main" id="{263E5993-DF71-6635-707B-D2F17907021F}"/>
              </a:ext>
            </a:extLst>
          </p:cNvPr>
          <p:cNvSpPr>
            <a:spLocks noGrp="1"/>
          </p:cNvSpPr>
          <p:nvPr>
            <p:ph type="subTitle" sz="quarter" idx="1000"/>
          </p:nvPr>
        </p:nvSpPr>
        <p:spPr/>
        <p:txBody>
          <a:bodyPr/>
          <a:lstStyle/>
          <a:p>
            <a:pPr lvl="1"/>
            <a:r>
              <a:rPr lang="en-US" dirty="0"/>
              <a:t>Corresponds to SB667 (Hashmi) and HB565 (O’Quinn)/SB685 (Mason). See next slide</a:t>
            </a:r>
          </a:p>
        </p:txBody>
      </p:sp>
      <p:sp>
        <p:nvSpPr>
          <p:cNvPr id="5" name="Slide Number Placeholder 4">
            <a:extLst>
              <a:ext uri="{FF2B5EF4-FFF2-40B4-BE49-F238E27FC236}">
                <a16:creationId xmlns:a16="http://schemas.microsoft.com/office/drawing/2014/main" id="{A36333C0-18C1-4C85-9EFA-8068BC6759F6}"/>
              </a:ext>
            </a:extLst>
          </p:cNvPr>
          <p:cNvSpPr>
            <a:spLocks noGrp="1"/>
          </p:cNvSpPr>
          <p:nvPr>
            <p:ph type="sldNum" sz="quarter" idx="107"/>
          </p:nvPr>
        </p:nvSpPr>
        <p:spPr/>
        <p:txBody>
          <a:bodyPr/>
          <a:lstStyle/>
          <a:p>
            <a:pPr lvl="0"/>
            <a:fld id="{078C017C-E1B9-8443-B047-B08AAA027B45}" type="slidenum">
              <a:rPr lang="en-US" noProof="0" smtClean="0"/>
              <a:pPr lvl="0"/>
              <a:t>10</a:t>
            </a:fld>
            <a:endParaRPr lang="en-US" noProof="0" dirty="0"/>
          </a:p>
        </p:txBody>
      </p:sp>
    </p:spTree>
    <p:extLst>
      <p:ext uri="{BB962C8B-B14F-4D97-AF65-F5344CB8AC3E}">
        <p14:creationId xmlns:p14="http://schemas.microsoft.com/office/powerpoint/2010/main" val="4856438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1">
            <a:extLst>
              <a:ext uri="{FF2B5EF4-FFF2-40B4-BE49-F238E27FC236}">
                <a16:creationId xmlns:a16="http://schemas.microsoft.com/office/drawing/2014/main" id="{4F9A5F42-19E0-4A40-A629-386772666155}"/>
              </a:ext>
            </a:extLst>
          </p:cNvPr>
          <p:cNvGraphicFramePr>
            <a:graphicFrameLocks noGrp="1"/>
          </p:cNvGraphicFramePr>
          <p:nvPr>
            <p:ph sz="quarter" idx="200"/>
            <p:extLst>
              <p:ext uri="{D42A27DB-BD31-4B8C-83A1-F6EECF244321}">
                <p14:modId xmlns:p14="http://schemas.microsoft.com/office/powerpoint/2010/main" val="1320740132"/>
              </p:ext>
            </p:extLst>
          </p:nvPr>
        </p:nvGraphicFramePr>
        <p:xfrm>
          <a:off x="431800" y="1170733"/>
          <a:ext cx="8358241" cy="5316348"/>
        </p:xfrm>
        <a:graphic>
          <a:graphicData uri="http://schemas.openxmlformats.org/drawingml/2006/table">
            <a:tbl>
              <a:tblPr firstRow="1" firstCol="1" bandRow="1">
                <a:tableStyleId>{73A6DA28-BB08-4E28-94E8-AB53A02DD50B}</a:tableStyleId>
              </a:tblPr>
              <a:tblGrid>
                <a:gridCol w="431093">
                  <a:extLst>
                    <a:ext uri="{9D8B030D-6E8A-4147-A177-3AD203B41FA5}">
                      <a16:colId xmlns:a16="http://schemas.microsoft.com/office/drawing/2014/main" val="1431377812"/>
                    </a:ext>
                  </a:extLst>
                </a:gridCol>
                <a:gridCol w="1709978">
                  <a:extLst>
                    <a:ext uri="{9D8B030D-6E8A-4147-A177-3AD203B41FA5}">
                      <a16:colId xmlns:a16="http://schemas.microsoft.com/office/drawing/2014/main" val="1622367381"/>
                    </a:ext>
                  </a:extLst>
                </a:gridCol>
                <a:gridCol w="5217458">
                  <a:extLst>
                    <a:ext uri="{9D8B030D-6E8A-4147-A177-3AD203B41FA5}">
                      <a16:colId xmlns:a16="http://schemas.microsoft.com/office/drawing/2014/main" val="4276031452"/>
                    </a:ext>
                  </a:extLst>
                </a:gridCol>
                <a:gridCol w="499856">
                  <a:extLst>
                    <a:ext uri="{9D8B030D-6E8A-4147-A177-3AD203B41FA5}">
                      <a16:colId xmlns:a16="http://schemas.microsoft.com/office/drawing/2014/main" val="1891856790"/>
                    </a:ext>
                  </a:extLst>
                </a:gridCol>
                <a:gridCol w="499856">
                  <a:extLst>
                    <a:ext uri="{9D8B030D-6E8A-4147-A177-3AD203B41FA5}">
                      <a16:colId xmlns:a16="http://schemas.microsoft.com/office/drawing/2014/main" val="3505419970"/>
                    </a:ext>
                  </a:extLst>
                </a:gridCol>
              </a:tblGrid>
              <a:tr h="238438">
                <a:tc rowSpan="2">
                  <a:txBody>
                    <a:bodyPr/>
                    <a:lstStyle/>
                    <a:p>
                      <a:endParaRPr lang="en-US" sz="1000" dirty="0"/>
                    </a:p>
                  </a:txBody>
                  <a:tcPr anchor="b">
                    <a:lnR w="0" cmpd="sng">
                      <a:noFill/>
                    </a:lnR>
                  </a:tcPr>
                </a:tc>
                <a:tc rowSpan="2">
                  <a:txBody>
                    <a:bodyPr/>
                    <a:lstStyle/>
                    <a:p>
                      <a:r>
                        <a:rPr lang="en-US" sz="1000" dirty="0"/>
                        <a:t>Initiative (Item)</a:t>
                      </a:r>
                    </a:p>
                  </a:txBody>
                  <a:tcPr anchor="b">
                    <a:lnL w="0" cmpd="sng">
                      <a:noFill/>
                    </a:lnL>
                    <a:lnR w="0" cmpd="sng">
                      <a:noFill/>
                    </a:lnR>
                  </a:tcPr>
                </a:tc>
                <a:tc rowSpan="2">
                  <a:txBody>
                    <a:bodyPr/>
                    <a:lstStyle/>
                    <a:p>
                      <a:r>
                        <a:rPr lang="en-US" sz="1000" dirty="0"/>
                        <a:t>Description</a:t>
                      </a:r>
                    </a:p>
                  </a:txBody>
                  <a:tcPr anchor="b">
                    <a:lnL w="0" cmpd="sng">
                      <a:noFill/>
                    </a:lnL>
                    <a:lnR w="0" cmpd="sng">
                      <a:noFill/>
                    </a:lnR>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Conference Report ($M)</a:t>
                      </a:r>
                    </a:p>
                  </a:txBody>
                  <a:tcPr marL="18288" marR="18288" anchor="b">
                    <a:lnL w="0" cmpd="sng">
                      <a:noFill/>
                    </a:lnL>
                    <a:lnR w="0" cmpd="sng">
                      <a:noFill/>
                    </a:lnR>
                    <a:lnT w="0" cmpd="sng">
                      <a:noFill/>
                    </a:lnT>
                    <a:lnB w="12700" cmpd="sng">
                      <a:noFill/>
                    </a:lnB>
                    <a:lnTlToBr w="12700" cmpd="sng">
                      <a:noFill/>
                      <a:prstDash val="solid"/>
                    </a:lnTlToBr>
                    <a:lnBlToTr w="12700" cmpd="sng">
                      <a:noFill/>
                      <a:prstDash val="solid"/>
                    </a:lnBlToTr>
                    <a:blipFill>
                      <a:blip r:embed="rId3">
                        <a:extLst>
                          <a:ext uri="{96DAC541-7B7A-43D3-8B79-37D633B846F1}">
                            <asvg:svgBlip xmlns:asvg="http://schemas.microsoft.com/office/drawing/2016/SVG/main" r:embed="rId4"/>
                          </a:ext>
                        </a:extLst>
                      </a:blip>
                      <a:stretch>
                        <a:fillRect/>
                      </a:stretch>
                    </a:blipFill>
                  </a:tcPr>
                </a:tc>
                <a:tc hMerge="1">
                  <a:txBody>
                    <a:bodyPr/>
                    <a:lstStyle/>
                    <a:p>
                      <a:pPr algn="ctr"/>
                      <a:endParaRPr lang="en-US" sz="1000" dirty="0"/>
                    </a:p>
                  </a:txBody>
                  <a:tcPr marL="18288" marR="18288" anchor="b">
                    <a:lnL w="0" cmpd="sng">
                      <a:noFill/>
                    </a:lnL>
                    <a:lnR w="0" cmpd="sng">
                      <a:noFill/>
                    </a:lnR>
                    <a:lnT w="0" cmpd="sng">
                      <a:noFill/>
                    </a:lnT>
                    <a:lnB w="12700" cmpd="sng">
                      <a:noFill/>
                    </a:lnB>
                    <a:lnTlToBr w="12700" cmpd="sng">
                      <a:noFill/>
                      <a:prstDash val="solid"/>
                    </a:lnTlToBr>
                    <a:lnBlToTr w="12700" cmpd="sng">
                      <a:noFill/>
                      <a:prstDash val="solid"/>
                    </a:lnBlToTr>
                    <a:blipFill>
                      <a:blip r:embed="rId3">
                        <a:extLst>
                          <a:ext uri="{96DAC541-7B7A-43D3-8B79-37D633B846F1}">
                            <asvg:svgBlip xmlns:asvg="http://schemas.microsoft.com/office/drawing/2016/SVG/main" r:embed="rId4"/>
                          </a:ext>
                        </a:extLst>
                      </a:blip>
                      <a:stretch>
                        <a:fillRect/>
                      </a:stretch>
                    </a:blipFill>
                  </a:tcPr>
                </a:tc>
                <a:extLst>
                  <a:ext uri="{0D108BD9-81ED-4DB2-BD59-A6C34878D82A}">
                    <a16:rowId xmlns:a16="http://schemas.microsoft.com/office/drawing/2014/main" val="1331683666"/>
                  </a:ext>
                </a:extLst>
              </a:tr>
              <a:tr h="146731">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txBody>
                  <a:tcPr/>
                </a:tc>
                <a:tc vMerge="1">
                  <a:txBody>
                    <a:bodyPr/>
                    <a:lstStyle/>
                    <a:p>
                      <a:endParaRPr lang="en-US"/>
                    </a:p>
                  </a:txBody>
                  <a:tcPr/>
                </a:tc>
                <a:tc>
                  <a:txBody>
                    <a:bodyPr/>
                    <a:lstStyle/>
                    <a:p>
                      <a:pPr algn="r"/>
                      <a:r>
                        <a:rPr lang="en-US" sz="1000" b="1" dirty="0"/>
                        <a:t>FY23</a:t>
                      </a:r>
                    </a:p>
                  </a:txBody>
                  <a:tcPr anchor="b">
                    <a:lnL w="12700" cmpd="sng">
                      <a:noFill/>
                    </a:lnL>
                    <a:lnT w="12700" cmpd="sng">
                      <a:noFill/>
                    </a:lnT>
                    <a:lnB w="12700" cap="flat" cmpd="sng" algn="ctr">
                      <a:solidFill>
                        <a:schemeClr val="tx1"/>
                      </a:solidFill>
                      <a:prstDash val="solid"/>
                      <a:round/>
                      <a:headEnd type="none" w="med" len="med"/>
                      <a:tailEnd type="none" w="med" len="med"/>
                    </a:lnB>
                  </a:tcPr>
                </a:tc>
                <a:tc>
                  <a:txBody>
                    <a:bodyPr/>
                    <a:lstStyle/>
                    <a:p>
                      <a:pPr algn="r"/>
                      <a:r>
                        <a:rPr lang="en-US" sz="1000" b="1" dirty="0"/>
                        <a:t>FY24</a:t>
                      </a:r>
                    </a:p>
                  </a:txBody>
                  <a:tcPr anchor="b">
                    <a:lnT w="12700" cmpd="sng">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0681500"/>
                  </a:ext>
                </a:extLst>
              </a:tr>
              <a:tr h="330145">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VEDP</a:t>
                      </a:r>
                    </a:p>
                  </a:txBody>
                  <a:tcPr vert="vert27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latin typeface="+mn-lt"/>
                          <a:ea typeface="+mn-ea"/>
                          <a:cs typeface="+mn-cs"/>
                        </a:rPr>
                        <a:t>HB217 (Simonds)</a:t>
                      </a:r>
                      <a:r>
                        <a:rPr lang="en-US" sz="1000" b="1" kern="1200" baseline="30000" dirty="0">
                          <a:solidFill>
                            <a:schemeClr val="tx1"/>
                          </a:solidFill>
                          <a:latin typeface="+mn-lt"/>
                          <a:ea typeface="+mn-ea"/>
                          <a:cs typeface="+mn-cs"/>
                        </a:rPr>
                        <a:t> </a:t>
                      </a:r>
                      <a:r>
                        <a:rPr lang="en-US" sz="1000" b="0" kern="1200" dirty="0">
                          <a:solidFill>
                            <a:schemeClr val="tx1"/>
                          </a:solidFill>
                          <a:latin typeface="+mn-lt"/>
                          <a:ea typeface="+mn-ea"/>
                          <a:cs typeface="+mn-cs"/>
                        </a:rPr>
                        <a:t>VOEE; required to review federal occupational categories</a:t>
                      </a:r>
                    </a:p>
                  </a:txBody>
                  <a:tcPr marL="45720" marR="4572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Requires VOEE to review the occupational categories in the U.S. Bureau of Labor Statistics' to determine occupational categories not captured in the Commonwealth's existing STEM+C workforce profile and the gaps in the Commonwealth's tracking of careers in these occupational categories for the purpose of better aligning K-16 education priorities; Report to GA 10/1/22</a:t>
                      </a:r>
                    </a:p>
                  </a:txBody>
                  <a:tcPr marL="45720" marR="45720">
                    <a:solidFill>
                      <a:schemeClr val="bg1"/>
                    </a:solidFill>
                  </a:tcPr>
                </a:tc>
                <a:tc>
                  <a:txBody>
                    <a:bodyPr/>
                    <a:lstStyle/>
                    <a:p>
                      <a:pPr algn="r"/>
                      <a:endParaRPr lang="en-US" sz="1000" dirty="0"/>
                    </a:p>
                  </a:txBody>
                  <a:tcPr>
                    <a:lnT w="12700" cap="flat" cmpd="sng" algn="ctr">
                      <a:solidFill>
                        <a:schemeClr val="tx1"/>
                      </a:solidFill>
                      <a:prstDash val="solid"/>
                      <a:round/>
                      <a:headEnd type="none" w="med" len="med"/>
                      <a:tailEnd type="none" w="med" len="med"/>
                    </a:lnT>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dk1"/>
                        </a:solidFill>
                        <a:latin typeface="+mn-lt"/>
                        <a:ea typeface="+mn-ea"/>
                        <a:cs typeface="+mn-cs"/>
                      </a:endParaRPr>
                    </a:p>
                  </a:txBody>
                  <a:tcP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519151962"/>
                  </a:ext>
                </a:extLst>
              </a:tr>
              <a:tr h="54864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VEDP</a:t>
                      </a:r>
                    </a:p>
                  </a:txBody>
                  <a:tcPr vert="vert27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latin typeface="+mn-lt"/>
                          <a:ea typeface="+mn-ea"/>
                          <a:cs typeface="+mn-cs"/>
                        </a:rPr>
                        <a:t>HB565 (O’Quinn)/SB685 (Mason) </a:t>
                      </a:r>
                      <a:r>
                        <a:rPr lang="en-US" sz="1000" b="0" kern="1200" dirty="0">
                          <a:solidFill>
                            <a:schemeClr val="tx1"/>
                          </a:solidFill>
                          <a:latin typeface="+mn-lt"/>
                          <a:ea typeface="+mn-ea"/>
                          <a:cs typeface="+mn-cs"/>
                        </a:rPr>
                        <a:t>Advanced Manufacturing Talent Investment Program and Fund (Item </a:t>
                      </a:r>
                      <a:r>
                        <a:rPr lang="en-US" sz="1000" dirty="0">
                          <a:hlinkClick r:id="rId5"/>
                        </a:rPr>
                        <a:t>487.50 #1c</a:t>
                      </a:r>
                      <a:r>
                        <a:rPr lang="en-US" sz="1000" dirty="0"/>
                        <a:t>)</a:t>
                      </a:r>
                      <a:endParaRPr lang="en-US" sz="1000" b="0" kern="1200" dirty="0">
                        <a:solidFill>
                          <a:schemeClr val="tx1"/>
                        </a:solidFill>
                        <a:latin typeface="+mn-lt"/>
                        <a:ea typeface="+mn-ea"/>
                        <a:cs typeface="+mn-cs"/>
                      </a:endParaRPr>
                    </a:p>
                  </a:txBody>
                  <a:tcPr marL="45720" marR="4572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Creates the Advanced Manufacturing Talent Investment Program and Fund to assist qualified institutions in reaching a goal of increasing by at least 25,000 new eligible credentials, which are noncredit workforce credentials awarded by a qualified institution in a high demand advanced manufacturing field as identified by VEDP</a:t>
                      </a:r>
                    </a:p>
                  </a:txBody>
                  <a:tcPr marL="45720" marR="45720">
                    <a:solidFill>
                      <a:schemeClr val="bg1"/>
                    </a:solidFill>
                  </a:tcPr>
                </a:tc>
                <a:tc>
                  <a:txBody>
                    <a:bodyPr/>
                    <a:lstStyle/>
                    <a:p>
                      <a:pPr algn="r"/>
                      <a:endParaRPr lang="en-US" sz="1000" dirty="0"/>
                    </a:p>
                  </a:txBody>
                  <a:tcPr>
                    <a:solidFill>
                      <a:schemeClr val="bg1"/>
                    </a:solidFill>
                  </a:tcPr>
                </a:tc>
                <a:tc>
                  <a:txBody>
                    <a:bodyPr/>
                    <a:lstStyle/>
                    <a:p>
                      <a:pPr algn="r"/>
                      <a:r>
                        <a:rPr lang="en-US" sz="1000" dirty="0"/>
                        <a:t>2.5</a:t>
                      </a:r>
                    </a:p>
                  </a:txBody>
                  <a:tcPr>
                    <a:solidFill>
                      <a:schemeClr val="bg1"/>
                    </a:solidFill>
                  </a:tcPr>
                </a:tc>
                <a:extLst>
                  <a:ext uri="{0D108BD9-81ED-4DB2-BD59-A6C34878D82A}">
                    <a16:rowId xmlns:a16="http://schemas.microsoft.com/office/drawing/2014/main" val="4112723322"/>
                  </a:ext>
                </a:extLst>
              </a:tr>
              <a:tr h="3301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SCHEV</a:t>
                      </a:r>
                      <a:endParaRPr lang="en-US" sz="1000" b="0" kern="1200" baseline="0" dirty="0">
                        <a:solidFill>
                          <a:schemeClr val="dk1"/>
                        </a:solidFill>
                        <a:latin typeface="+mn-lt"/>
                        <a:ea typeface="+mn-ea"/>
                        <a:cs typeface="+mn-cs"/>
                      </a:endParaRPr>
                    </a:p>
                  </a:txBody>
                  <a:tcPr vert="vert27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latin typeface="+mn-lt"/>
                          <a:ea typeface="+mn-ea"/>
                          <a:cs typeface="+mn-cs"/>
                        </a:rPr>
                        <a:t>SB667 (Hashmi) </a:t>
                      </a:r>
                      <a:r>
                        <a:rPr lang="en-US" sz="1000" b="0" kern="1200" dirty="0">
                          <a:solidFill>
                            <a:schemeClr val="tx1"/>
                          </a:solidFill>
                          <a:latin typeface="+mn-lt"/>
                          <a:ea typeface="+mn-ea"/>
                          <a:cs typeface="+mn-cs"/>
                        </a:rPr>
                        <a:t>Innovative Internship Program; Virginia Office of Education Economics (Item </a:t>
                      </a:r>
                      <a:r>
                        <a:rPr lang="en-US" sz="1000" dirty="0">
                          <a:hlinkClick r:id="rId5"/>
                        </a:rPr>
                        <a:t>487.50 #1c</a:t>
                      </a:r>
                      <a:r>
                        <a:rPr lang="en-US" sz="1000" dirty="0"/>
                        <a:t>)</a:t>
                      </a:r>
                      <a:endParaRPr lang="en-US" sz="1000" b="0" kern="1200" dirty="0">
                        <a:solidFill>
                          <a:schemeClr val="tx1"/>
                        </a:solidFill>
                        <a:latin typeface="+mn-lt"/>
                        <a:ea typeface="+mn-ea"/>
                        <a:cs typeface="+mn-cs"/>
                      </a:endParaRPr>
                    </a:p>
                  </a:txBody>
                  <a:tcPr marL="45720" marR="4572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Directs the State Council of Higher Education for Virginia to partner with the VOEE to collect and utilize data that includes the gaps that are most significant in hindering the Commonwealth from achieving its goals that its funds are intended to accomplish under the Innovative Internship Program, and provides other directives to the Council and VOEE to collaborate on and accomplish for the Innovative Internship Program</a:t>
                      </a:r>
                    </a:p>
                  </a:txBody>
                  <a:tcPr marL="45720" marR="45720">
                    <a:solidFill>
                      <a:schemeClr val="bg1"/>
                    </a:solidFill>
                  </a:tcPr>
                </a:tc>
                <a:tc>
                  <a:txBody>
                    <a:bodyPr/>
                    <a:lstStyle/>
                    <a:p>
                      <a:pPr algn="r"/>
                      <a:r>
                        <a:rPr lang="en-US" sz="1000" dirty="0"/>
                        <a:t>3.0</a:t>
                      </a:r>
                    </a:p>
                  </a:txBody>
                  <a:tcPr>
                    <a:solidFill>
                      <a:schemeClr val="bg1"/>
                    </a:solidFill>
                  </a:tcPr>
                </a:tc>
                <a:tc>
                  <a:txBody>
                    <a:bodyPr/>
                    <a:lstStyle/>
                    <a:p>
                      <a:pPr algn="r"/>
                      <a:r>
                        <a:rPr lang="en-US" sz="1000" dirty="0"/>
                        <a:t>10.0</a:t>
                      </a:r>
                    </a:p>
                  </a:txBody>
                  <a:tcPr>
                    <a:solidFill>
                      <a:schemeClr val="bg1"/>
                    </a:solidFill>
                  </a:tcPr>
                </a:tc>
                <a:extLst>
                  <a:ext uri="{0D108BD9-81ED-4DB2-BD59-A6C34878D82A}">
                    <a16:rowId xmlns:a16="http://schemas.microsoft.com/office/drawing/2014/main" val="2820707480"/>
                  </a:ext>
                </a:extLst>
              </a:tr>
              <a:tr h="3301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 Workforce Dev. Board</a:t>
                      </a:r>
                    </a:p>
                  </a:txBody>
                  <a:tcPr vert="vert270"/>
                </a:tc>
                <a:tc>
                  <a:txBody>
                    <a:bodyPr/>
                    <a:lstStyle/>
                    <a:p>
                      <a:pPr marL="0" marR="0" algn="l">
                        <a:lnSpc>
                          <a:spcPct val="107000"/>
                        </a:lnSpc>
                        <a:spcBef>
                          <a:spcPts val="0"/>
                        </a:spcBef>
                        <a:spcAft>
                          <a:spcPts val="0"/>
                        </a:spcAft>
                      </a:pPr>
                      <a:r>
                        <a:rPr lang="en-US" sz="1000" b="1" u="none" dirty="0">
                          <a:solidFill>
                            <a:schemeClr val="tx1"/>
                          </a:solidFill>
                          <a:effectLst/>
                          <a:latin typeface="+mn-lt"/>
                          <a:ea typeface="Calibri" panose="020F0502020204030204" pitchFamily="34" charset="0"/>
                          <a:cs typeface="Times New Roman" panose="02020603050405020304" pitchFamily="18" charset="0"/>
                        </a:rPr>
                        <a:t>HB718 (Filler-Corn)/SB661 (Lucas) </a:t>
                      </a:r>
                      <a:r>
                        <a:rPr lang="en-US" sz="1000" b="0" dirty="0">
                          <a:effectLst/>
                          <a:latin typeface="+mn-lt"/>
                          <a:ea typeface="Calibri" panose="020F0502020204030204" pitchFamily="34" charset="0"/>
                          <a:cs typeface="Times New Roman" panose="02020603050405020304" pitchFamily="18" charset="0"/>
                        </a:rPr>
                        <a:t>Apprenticeship program; Bd. of Workforce Development to prepare recs for primary office</a:t>
                      </a:r>
                    </a:p>
                  </a:txBody>
                  <a:tcPr marL="45720" marR="45720">
                    <a:noFill/>
                  </a:tcPr>
                </a:tc>
                <a:tc>
                  <a:txBody>
                    <a:bodyPr/>
                    <a:lstStyle/>
                    <a:p>
                      <a:pPr marL="0" marR="0" algn="l">
                        <a:lnSpc>
                          <a:spcPct val="107000"/>
                        </a:lnSpc>
                        <a:spcBef>
                          <a:spcPts val="0"/>
                        </a:spcBef>
                        <a:spcAft>
                          <a:spcPts val="800"/>
                        </a:spcAft>
                      </a:pPr>
                      <a:r>
                        <a:rPr lang="en-US" sz="1000" dirty="0">
                          <a:effectLst/>
                          <a:latin typeface="+mn-lt"/>
                          <a:ea typeface="Calibri" panose="020F0502020204030204" pitchFamily="34" charset="0"/>
                          <a:cs typeface="Times New Roman" panose="02020603050405020304" pitchFamily="18" charset="0"/>
                        </a:rPr>
                        <a:t>Directs the Virginia Board of Workforce Development to collaborate with the Department of Labor and Industry, the Department of Education, and the Secretaries of Labor, Education, and Commerce and Trade and rely on data from the Office of Education and Labor Market Alignment in reviewing the performance of current apprenticeship programs in meeting high-demand industry needs.</a:t>
                      </a:r>
                    </a:p>
                  </a:txBody>
                  <a:tcPr marL="45720" marR="45720">
                    <a:noFill/>
                  </a:tcPr>
                </a:tc>
                <a:tc>
                  <a:txBody>
                    <a:bodyPr/>
                    <a:lstStyle/>
                    <a:p>
                      <a:pPr algn="r"/>
                      <a:endParaRPr lang="en-US" sz="1000" dirty="0"/>
                    </a:p>
                  </a:txBody>
                  <a:tcPr>
                    <a:noFill/>
                  </a:tcPr>
                </a:tc>
                <a:tc>
                  <a:txBody>
                    <a:bodyPr/>
                    <a:lstStyle/>
                    <a:p>
                      <a:pPr algn="r"/>
                      <a:endParaRPr lang="en-US" sz="1000" dirty="0"/>
                    </a:p>
                  </a:txBody>
                  <a:tcPr>
                    <a:noFill/>
                  </a:tcPr>
                </a:tc>
                <a:extLst>
                  <a:ext uri="{0D108BD9-81ED-4DB2-BD59-A6C34878D82A}">
                    <a16:rowId xmlns:a16="http://schemas.microsoft.com/office/drawing/2014/main" val="3547340923"/>
                  </a:ext>
                </a:extLst>
              </a:tr>
              <a:tr h="3301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latin typeface="+mn-lt"/>
                          <a:ea typeface="+mn-ea"/>
                          <a:cs typeface="+mn-cs"/>
                        </a:rPr>
                        <a:t>DOE</a:t>
                      </a:r>
                    </a:p>
                  </a:txBody>
                  <a:tcPr vert="vert270"/>
                </a:tc>
                <a:tc>
                  <a:txBody>
                    <a:bodyPr/>
                    <a:lstStyle/>
                    <a:p>
                      <a:pPr marL="0" marR="0" algn="l">
                        <a:lnSpc>
                          <a:spcPct val="107000"/>
                        </a:lnSpc>
                        <a:spcBef>
                          <a:spcPts val="0"/>
                        </a:spcBef>
                        <a:spcAft>
                          <a:spcPts val="0"/>
                        </a:spcAft>
                      </a:pPr>
                      <a:r>
                        <a:rPr lang="en-US" sz="1000" b="1" dirty="0">
                          <a:effectLst/>
                          <a:latin typeface="+mn-lt"/>
                          <a:ea typeface="Calibri" panose="020F0502020204030204" pitchFamily="34" charset="0"/>
                          <a:cs typeface="Times New Roman" panose="02020603050405020304" pitchFamily="18" charset="0"/>
                        </a:rPr>
                        <a:t>HB1299 (Coyner)/ SB738 (Morrissey) </a:t>
                      </a:r>
                      <a:r>
                        <a:rPr lang="en-US" sz="1000" b="0" dirty="0">
                          <a:effectLst/>
                          <a:latin typeface="+mn-lt"/>
                          <a:ea typeface="Calibri" panose="020F0502020204030204" pitchFamily="34" charset="0"/>
                          <a:cs typeface="Times New Roman" panose="02020603050405020304" pitchFamily="18" charset="0"/>
                        </a:rPr>
                        <a:t>High school students; instruction concerning post-graduate opportunities</a:t>
                      </a:r>
                    </a:p>
                  </a:txBody>
                  <a:tcPr marL="45720" marR="45720">
                    <a:noFill/>
                  </a:tcPr>
                </a:tc>
                <a:tc>
                  <a:txBody>
                    <a:bodyPr/>
                    <a:lstStyle/>
                    <a:p>
                      <a:pPr marL="0" marR="0" algn="l">
                        <a:lnSpc>
                          <a:spcPct val="107000"/>
                        </a:lnSpc>
                        <a:spcBef>
                          <a:spcPts val="0"/>
                        </a:spcBef>
                        <a:spcAft>
                          <a:spcPts val="800"/>
                        </a:spcAft>
                      </a:pPr>
                      <a:r>
                        <a:rPr lang="en-US" sz="1000" dirty="0">
                          <a:effectLst/>
                          <a:latin typeface="+mn-lt"/>
                          <a:ea typeface="Calibri" panose="020F0502020204030204" pitchFamily="34" charset="0"/>
                          <a:cs typeface="Times New Roman" panose="02020603050405020304" pitchFamily="18" charset="0"/>
                        </a:rPr>
                        <a:t>Requires the DOE to collect and distribute to public schools and publicly post on its website information that assists high school students in making more informed decisions about their futures after graduating from high school and in doing so ensure that such students are aware of the costs and benefits of different educational and certificate programs. The bill directs the Department to annually collect and compile such information in consultation with the SCHEV and </a:t>
                      </a:r>
                      <a:r>
                        <a:rPr lang="en-US" sz="1000" u="sng" dirty="0">
                          <a:effectLst/>
                          <a:latin typeface="+mn-lt"/>
                          <a:ea typeface="Calibri" panose="020F0502020204030204" pitchFamily="34" charset="0"/>
                          <a:cs typeface="Times New Roman" panose="02020603050405020304" pitchFamily="18" charset="0"/>
                        </a:rPr>
                        <a:t>any other entity that can assist </a:t>
                      </a:r>
                      <a:r>
                        <a:rPr lang="en-US" sz="1000" dirty="0">
                          <a:effectLst/>
                          <a:latin typeface="+mn-lt"/>
                          <a:ea typeface="Calibri" panose="020F0502020204030204" pitchFamily="34" charset="0"/>
                          <a:cs typeface="Times New Roman" panose="02020603050405020304" pitchFamily="18" charset="0"/>
                        </a:rPr>
                        <a:t>the Department with collecting and compiling such information and to update its distribution materials accordingly each year. </a:t>
                      </a:r>
                    </a:p>
                  </a:txBody>
                  <a:tcPr marL="45720" marR="45720">
                    <a:noFill/>
                  </a:tcPr>
                </a:tc>
                <a:tc>
                  <a:txBody>
                    <a:bodyPr/>
                    <a:lstStyle/>
                    <a:p>
                      <a:pPr algn="r"/>
                      <a:endParaRPr lang="en-US" sz="1000" dirty="0"/>
                    </a:p>
                  </a:txBody>
                  <a:tcPr>
                    <a:noFill/>
                  </a:tcPr>
                </a:tc>
                <a:tc>
                  <a:txBody>
                    <a:bodyPr/>
                    <a:lstStyle/>
                    <a:p>
                      <a:pPr algn="r"/>
                      <a:endParaRPr lang="en-US" sz="1000" dirty="0"/>
                    </a:p>
                  </a:txBody>
                  <a:tcPr>
                    <a:noFill/>
                  </a:tcPr>
                </a:tc>
                <a:extLst>
                  <a:ext uri="{0D108BD9-81ED-4DB2-BD59-A6C34878D82A}">
                    <a16:rowId xmlns:a16="http://schemas.microsoft.com/office/drawing/2014/main" val="1869484090"/>
                  </a:ext>
                </a:extLst>
              </a:tr>
            </a:tbl>
          </a:graphicData>
        </a:graphic>
      </p:graphicFrame>
      <p:sp>
        <p:nvSpPr>
          <p:cNvPr id="3" name="Title 2">
            <a:extLst>
              <a:ext uri="{FF2B5EF4-FFF2-40B4-BE49-F238E27FC236}">
                <a16:creationId xmlns:a16="http://schemas.microsoft.com/office/drawing/2014/main" id="{9D48809E-199A-4C7C-BF8F-3E28CD7932A3}"/>
              </a:ext>
            </a:extLst>
          </p:cNvPr>
          <p:cNvSpPr>
            <a:spLocks noGrp="1"/>
          </p:cNvSpPr>
          <p:nvPr>
            <p:ph type="title"/>
          </p:nvPr>
        </p:nvSpPr>
        <p:spPr/>
        <p:txBody>
          <a:bodyPr/>
          <a:lstStyle/>
          <a:p>
            <a:r>
              <a:rPr lang="en-US" dirty="0"/>
              <a:t>VOEE’s new initiatives from the 2022 General Assembly Sessions (2 of 2)</a:t>
            </a:r>
          </a:p>
        </p:txBody>
      </p:sp>
      <p:sp>
        <p:nvSpPr>
          <p:cNvPr id="5" name="Slide Number Placeholder 4">
            <a:extLst>
              <a:ext uri="{FF2B5EF4-FFF2-40B4-BE49-F238E27FC236}">
                <a16:creationId xmlns:a16="http://schemas.microsoft.com/office/drawing/2014/main" id="{A36333C0-18C1-4C85-9EFA-8068BC6759F6}"/>
              </a:ext>
            </a:extLst>
          </p:cNvPr>
          <p:cNvSpPr>
            <a:spLocks noGrp="1"/>
          </p:cNvSpPr>
          <p:nvPr>
            <p:ph type="sldNum" sz="quarter" idx="107"/>
          </p:nvPr>
        </p:nvSpPr>
        <p:spPr/>
        <p:txBody>
          <a:bodyPr/>
          <a:lstStyle/>
          <a:p>
            <a:pPr lvl="0"/>
            <a:fld id="{078C017C-E1B9-8443-B047-B08AAA027B45}" type="slidenum">
              <a:rPr lang="en-US" noProof="0" smtClean="0"/>
              <a:pPr lvl="0"/>
              <a:t>11</a:t>
            </a:fld>
            <a:endParaRPr lang="en-US" noProof="0" dirty="0"/>
          </a:p>
        </p:txBody>
      </p:sp>
    </p:spTree>
    <p:extLst>
      <p:ext uri="{BB962C8B-B14F-4D97-AF65-F5344CB8AC3E}">
        <p14:creationId xmlns:p14="http://schemas.microsoft.com/office/powerpoint/2010/main" val="2816353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8E81ECBA-1464-479E-B593-621640DAC104}"/>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88" t="15056" r="37688" b="15056"/>
          <a:stretch/>
        </p:blipFill>
        <p:spPr>
          <a:xfrm>
            <a:off x="0" y="0"/>
            <a:ext cx="9144000" cy="6858000"/>
          </a:xfrm>
          <a:effectLst>
            <a:innerShdw blurRad="1270000" dist="1270000" dir="5400000">
              <a:prstClr val="black">
                <a:alpha val="22000"/>
              </a:prstClr>
            </a:innerShdw>
          </a:effectLst>
        </p:spPr>
      </p:pic>
      <p:sp>
        <p:nvSpPr>
          <p:cNvPr id="5" name="Slide Number Placeholder 4">
            <a:extLst>
              <a:ext uri="{FF2B5EF4-FFF2-40B4-BE49-F238E27FC236}">
                <a16:creationId xmlns:a16="http://schemas.microsoft.com/office/drawing/2014/main" id="{3C14E1C6-58EA-4E63-9492-97E77DF5D852}"/>
              </a:ext>
            </a:extLst>
          </p:cNvPr>
          <p:cNvSpPr>
            <a:spLocks noGrp="1"/>
          </p:cNvSpPr>
          <p:nvPr>
            <p:ph type="sldNum" sz="quarter" idx="112"/>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12</a:t>
            </a:fld>
            <a:endParaRPr lang="en-US" dirty="0"/>
          </a:p>
        </p:txBody>
      </p:sp>
      <p:sp>
        <p:nvSpPr>
          <p:cNvPr id="9" name="Text Placeholder 8">
            <a:extLst>
              <a:ext uri="{FF2B5EF4-FFF2-40B4-BE49-F238E27FC236}">
                <a16:creationId xmlns:a16="http://schemas.microsoft.com/office/drawing/2014/main" id="{D0C9262E-A47C-4F4F-A764-17318BE32749}"/>
              </a:ext>
            </a:extLst>
          </p:cNvPr>
          <p:cNvSpPr>
            <a:spLocks noGrp="1"/>
          </p:cNvSpPr>
          <p:nvPr>
            <p:ph type="body" sz="quarter" idx="500"/>
          </p:nvPr>
        </p:nvSpPr>
        <p:spPr>
          <a:xfrm>
            <a:off x="5960284" y="6048425"/>
            <a:ext cx="2742875" cy="304699"/>
          </a:xfrm>
        </p:spPr>
        <p:txBody>
          <a:bodyPr/>
          <a:lstStyle/>
          <a:p>
            <a:r>
              <a:rPr lang="en-US" dirty="0"/>
              <a:t>Maggie L. Walker Governor’s School, Richmond</a:t>
            </a:r>
          </a:p>
        </p:txBody>
      </p:sp>
      <p:sp>
        <p:nvSpPr>
          <p:cNvPr id="8" name="Text Placeholder 7">
            <a:extLst>
              <a:ext uri="{FF2B5EF4-FFF2-40B4-BE49-F238E27FC236}">
                <a16:creationId xmlns:a16="http://schemas.microsoft.com/office/drawing/2014/main" id="{0644E093-E5A7-43BD-9FEB-441C28F8916D}"/>
              </a:ext>
            </a:extLst>
          </p:cNvPr>
          <p:cNvSpPr>
            <a:spLocks noGrp="1"/>
          </p:cNvSpPr>
          <p:nvPr>
            <p:ph type="body" sz="quarter" idx="200"/>
          </p:nvPr>
        </p:nvSpPr>
        <p:spPr/>
        <p:txBody>
          <a:bodyPr/>
          <a:lstStyle/>
          <a:p>
            <a:r>
              <a:rPr lang="en-US" sz="4000" dirty="0"/>
              <a:t>Questions? Get in touch </a:t>
            </a:r>
          </a:p>
          <a:p>
            <a:r>
              <a:rPr lang="en-US" dirty="0"/>
              <a:t>Heather McKay</a:t>
            </a:r>
            <a:r>
              <a:rPr lang="en-US" b="0" dirty="0"/>
              <a:t> </a:t>
            </a:r>
            <a:br>
              <a:rPr lang="en-US" b="0" dirty="0"/>
            </a:br>
            <a:r>
              <a:rPr lang="en-US" b="0" dirty="0"/>
              <a:t>Executive Director </a:t>
            </a:r>
            <a:br>
              <a:rPr lang="en-US" b="0" dirty="0"/>
            </a:br>
            <a:r>
              <a:rPr lang="en-US" b="0" u="sng" dirty="0">
                <a:hlinkClick r:id="rId3"/>
              </a:rPr>
              <a:t>hmckay@vedp.org</a:t>
            </a:r>
            <a:r>
              <a:rPr lang="en-US" b="0" dirty="0"/>
              <a:t> </a:t>
            </a:r>
          </a:p>
        </p:txBody>
      </p:sp>
    </p:spTree>
    <p:extLst>
      <p:ext uri="{BB962C8B-B14F-4D97-AF65-F5344CB8AC3E}">
        <p14:creationId xmlns:p14="http://schemas.microsoft.com/office/powerpoint/2010/main" val="2161953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ED30F-AB93-4310-9ED3-A59583C832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617ED30F-AB93-4310-9ED3-A59583C8324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Placeholder 2">
            <a:extLst>
              <a:ext uri="{FF2B5EF4-FFF2-40B4-BE49-F238E27FC236}">
                <a16:creationId xmlns:a16="http://schemas.microsoft.com/office/drawing/2014/main" id="{1FB80AEC-E3C5-4645-A869-6AFEE1F80D3A}"/>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t="2890" b="2890"/>
          <a:stretch/>
        </p:blipFill>
        <p:spPr>
          <a:xfrm>
            <a:off x="0" y="1112838"/>
            <a:ext cx="9144000" cy="5745162"/>
          </a:xfrm>
        </p:spPr>
      </p:pic>
      <p:sp>
        <p:nvSpPr>
          <p:cNvPr id="36" name="Text Placeholder 8">
            <a:extLst>
              <a:ext uri="{FF2B5EF4-FFF2-40B4-BE49-F238E27FC236}">
                <a16:creationId xmlns:a16="http://schemas.microsoft.com/office/drawing/2014/main" id="{4995C435-72D6-BF4F-AF5A-A69CBECD78A9}"/>
              </a:ext>
            </a:extLst>
          </p:cNvPr>
          <p:cNvSpPr>
            <a:spLocks noGrp="1"/>
          </p:cNvSpPr>
          <p:nvPr>
            <p:ph type="body" sz="quarter" idx="200"/>
          </p:nvPr>
        </p:nvSpPr>
        <p:spPr>
          <a:xfrm>
            <a:off x="0" y="1112838"/>
            <a:ext cx="4931230" cy="5745162"/>
          </a:xfrm>
        </p:spPr>
        <p:txBody>
          <a:bodyPr/>
          <a:lstStyle/>
          <a:p>
            <a:r>
              <a:rPr lang="en-US" sz="1500" b="0" dirty="0"/>
              <a:t>In January 2021, SB1314 created the new office of education and labor market alignment at VEDP, with </a:t>
            </a:r>
            <a:r>
              <a:rPr lang="en-US" sz="1500" b="0" dirty="0">
                <a:solidFill>
                  <a:schemeClr val="bg2"/>
                </a:solidFill>
              </a:rPr>
              <a:t>two complementary functions:</a:t>
            </a:r>
          </a:p>
          <a:p>
            <a:pPr marL="0" lvl="2" indent="0">
              <a:buNone/>
            </a:pPr>
            <a:endParaRPr lang="en-US" sz="1500" dirty="0">
              <a:solidFill>
                <a:schemeClr val="bg2"/>
              </a:solidFill>
            </a:endParaRPr>
          </a:p>
          <a:p>
            <a:pPr marL="457200" lvl="2" indent="-457200">
              <a:buFont typeface="+mj-lt"/>
              <a:buAutoNum type="arabicPeriod"/>
            </a:pPr>
            <a:r>
              <a:rPr lang="en-US" sz="2000" dirty="0">
                <a:solidFill>
                  <a:schemeClr val="bg2"/>
                </a:solidFill>
              </a:rPr>
              <a:t>Provide a unified, consistent source of analysis for policy development and implementation related to talent development</a:t>
            </a:r>
          </a:p>
          <a:p>
            <a:pPr marL="457200" lvl="2" indent="-457200">
              <a:buFont typeface="+mj-lt"/>
              <a:buAutoNum type="arabicPeriod"/>
            </a:pPr>
            <a:endParaRPr lang="en-US" sz="2000" dirty="0">
              <a:solidFill>
                <a:schemeClr val="bg2"/>
              </a:solidFill>
            </a:endParaRPr>
          </a:p>
          <a:p>
            <a:pPr marL="457200" lvl="2" indent="-457200">
              <a:buFont typeface="+mj-lt"/>
              <a:buAutoNum type="arabicPeriod"/>
            </a:pPr>
            <a:r>
              <a:rPr lang="en-US" sz="2000" dirty="0">
                <a:solidFill>
                  <a:schemeClr val="bg2"/>
                </a:solidFill>
              </a:rPr>
              <a:t>Offer resources and expertise related to education and labor market alignment</a:t>
            </a:r>
          </a:p>
          <a:p>
            <a:pPr marL="0" lvl="2" indent="0">
              <a:buNone/>
            </a:pPr>
            <a:endParaRPr lang="en-US" sz="1500" dirty="0"/>
          </a:p>
          <a:p>
            <a:pPr lvl="1"/>
            <a:r>
              <a:rPr lang="en-US" sz="1500" dirty="0">
                <a:solidFill>
                  <a:schemeClr val="bg2"/>
                </a:solidFill>
              </a:rPr>
              <a:t>We work closely with key partners to accomplish our mandate. </a:t>
            </a:r>
            <a:r>
              <a:rPr lang="en-US" sz="1500" dirty="0"/>
              <a:t>VOEE’s key partners include the Virginia Dept of Labor, the Virginia Secretariat of Commerce &amp; Trade, SCHEV, Higher education institutions, Virginia Dept of Education, Virginia Employment Commission, GO Virginia, Virginia Board of Workforce Development, and other workforce partners</a:t>
            </a:r>
          </a:p>
        </p:txBody>
      </p:sp>
      <p:sp>
        <p:nvSpPr>
          <p:cNvPr id="12" name="Title 2">
            <a:extLst>
              <a:ext uri="{FF2B5EF4-FFF2-40B4-BE49-F238E27FC236}">
                <a16:creationId xmlns:a16="http://schemas.microsoft.com/office/drawing/2014/main" id="{5405906F-77DE-C341-89FF-491B3B0FD337}"/>
              </a:ext>
            </a:extLst>
          </p:cNvPr>
          <p:cNvSpPr>
            <a:spLocks noGrp="1"/>
          </p:cNvSpPr>
          <p:nvPr>
            <p:ph type="title"/>
          </p:nvPr>
        </p:nvSpPr>
        <p:spPr/>
        <p:txBody>
          <a:bodyPr/>
          <a:lstStyle/>
          <a:p>
            <a:r>
              <a:rPr lang="en-US" dirty="0"/>
              <a:t>What we Do</a:t>
            </a:r>
          </a:p>
        </p:txBody>
      </p:sp>
      <p:sp>
        <p:nvSpPr>
          <p:cNvPr id="14" name="Text Placeholder 13">
            <a:extLst>
              <a:ext uri="{FF2B5EF4-FFF2-40B4-BE49-F238E27FC236}">
                <a16:creationId xmlns:a16="http://schemas.microsoft.com/office/drawing/2014/main" id="{328C054F-2B12-4949-B970-29953DF0E0A0}"/>
              </a:ext>
            </a:extLst>
          </p:cNvPr>
          <p:cNvSpPr>
            <a:spLocks noGrp="1"/>
          </p:cNvSpPr>
          <p:nvPr>
            <p:ph type="body" sz="quarter" idx="500"/>
          </p:nvPr>
        </p:nvSpPr>
        <p:spPr/>
        <p:txBody>
          <a:bodyPr/>
          <a:lstStyle/>
          <a:p>
            <a:r>
              <a:rPr lang="en-US" dirty="0"/>
              <a:t>Novozymes</a:t>
            </a:r>
          </a:p>
        </p:txBody>
      </p:sp>
      <p:sp>
        <p:nvSpPr>
          <p:cNvPr id="5" name="Slide Number Placeholder 4">
            <a:extLst>
              <a:ext uri="{FF2B5EF4-FFF2-40B4-BE49-F238E27FC236}">
                <a16:creationId xmlns:a16="http://schemas.microsoft.com/office/drawing/2014/main" id="{81349199-D04E-4244-92B0-C4082831A92E}"/>
              </a:ext>
            </a:extLst>
          </p:cNvPr>
          <p:cNvSpPr>
            <a:spLocks noGrp="1"/>
          </p:cNvSpPr>
          <p:nvPr>
            <p:ph type="sldNum" sz="quarter" idx="112"/>
          </p:nvPr>
        </p:nvSpPr>
        <p:spPr/>
        <p:txBody>
          <a:bodyPr/>
          <a:lstStyle/>
          <a:p>
            <a:fld id="{078C017C-E1B9-8443-B047-B08AAA027B45}" type="slidenum">
              <a:rPr lang="en-US" smtClean="0"/>
              <a:pPr/>
              <a:t>1</a:t>
            </a:fld>
            <a:endParaRPr lang="en-US" dirty="0"/>
          </a:p>
        </p:txBody>
      </p:sp>
      <p:graphicFrame>
        <p:nvGraphicFramePr>
          <p:cNvPr id="35" name="Object 34" hidden="1">
            <a:extLst>
              <a:ext uri="{FF2B5EF4-FFF2-40B4-BE49-F238E27FC236}">
                <a16:creationId xmlns:a16="http://schemas.microsoft.com/office/drawing/2014/main" id="{2D2F789C-EA8B-45ED-8B05-5C029B3ABA2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35" name="Object 34" hidden="1">
                        <a:extLst>
                          <a:ext uri="{FF2B5EF4-FFF2-40B4-BE49-F238E27FC236}">
                            <a16:creationId xmlns:a16="http://schemas.microsoft.com/office/drawing/2014/main" id="{2D2F789C-EA8B-45ED-8B05-5C029B3ABA2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37" name="Object 36" hidden="1">
            <a:extLst>
              <a:ext uri="{FF2B5EF4-FFF2-40B4-BE49-F238E27FC236}">
                <a16:creationId xmlns:a16="http://schemas.microsoft.com/office/drawing/2014/main" id="{06CCA69C-53A6-4A86-ABC6-97E84B8DF09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86" imgH="286" progId="TCLayout.ActiveDocument.1">
                  <p:embed/>
                </p:oleObj>
              </mc:Choice>
              <mc:Fallback>
                <p:oleObj name="think-cell Slide" r:id="rId11" imgW="286" imgH="286" progId="TCLayout.ActiveDocument.1">
                  <p:embed/>
                  <p:pic>
                    <p:nvPicPr>
                      <p:cNvPr id="37" name="Object 36" hidden="1">
                        <a:extLst>
                          <a:ext uri="{FF2B5EF4-FFF2-40B4-BE49-F238E27FC236}">
                            <a16:creationId xmlns:a16="http://schemas.microsoft.com/office/drawing/2014/main" id="{06CCA69C-53A6-4A86-ABC6-97E84B8DF09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52256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30A6FD72-8943-439E-871E-37F874117EC2}"/>
              </a:ext>
            </a:extLst>
          </p:cNvPr>
          <p:cNvPicPr>
            <a:picLocks noGrp="1" noChangeAspect="1"/>
          </p:cNvPicPr>
          <p:nvPr>
            <p:ph type="pic" sz="quarter" idx="25"/>
          </p:nvPr>
        </p:nvPicPr>
        <p:blipFill>
          <a:blip r:embed="rId3">
            <a:extLst>
              <a:ext uri="{28A0092B-C50C-407E-A947-70E740481C1C}">
                <a14:useLocalDpi xmlns:a14="http://schemas.microsoft.com/office/drawing/2010/main" val="0"/>
              </a:ext>
            </a:extLst>
          </a:blip>
          <a:srcRect t="11318" b="11318"/>
          <a:stretch/>
        </p:blipFill>
        <p:spPr>
          <a:xfrm>
            <a:off x="4787900" y="1112838"/>
            <a:ext cx="4108197" cy="4765449"/>
          </a:xfrm>
          <a:effectLst>
            <a:innerShdw blurRad="901700" dist="685800" dir="5400000">
              <a:prstClr val="black">
                <a:alpha val="22000"/>
              </a:prstClr>
            </a:innerShdw>
          </a:effectLst>
        </p:spPr>
      </p:pic>
      <p:sp>
        <p:nvSpPr>
          <p:cNvPr id="17" name="Title 16">
            <a:extLst>
              <a:ext uri="{FF2B5EF4-FFF2-40B4-BE49-F238E27FC236}">
                <a16:creationId xmlns:a16="http://schemas.microsoft.com/office/drawing/2014/main" id="{2F9A40D7-CB50-450A-B755-4A672E26E33E}"/>
              </a:ext>
            </a:extLst>
          </p:cNvPr>
          <p:cNvSpPr>
            <a:spLocks noGrp="1"/>
          </p:cNvSpPr>
          <p:nvPr>
            <p:ph type="title"/>
          </p:nvPr>
        </p:nvSpPr>
        <p:spPr/>
        <p:txBody>
          <a:bodyPr/>
          <a:lstStyle/>
          <a:p>
            <a:r>
              <a:rPr lang="en-US" dirty="0"/>
              <a:t>VOEE WILL ENABLE VIRGINIA TO TACKLE AMBITIOUS CHALLENGES, AS A NATIONAL LEADER ON A NUMBER OF FRONTS</a:t>
            </a:r>
          </a:p>
        </p:txBody>
      </p:sp>
      <p:sp>
        <p:nvSpPr>
          <p:cNvPr id="10" name="Text Placeholder 9">
            <a:extLst>
              <a:ext uri="{FF2B5EF4-FFF2-40B4-BE49-F238E27FC236}">
                <a16:creationId xmlns:a16="http://schemas.microsoft.com/office/drawing/2014/main" id="{30818F5F-72E8-48B5-BEB0-08BD9D5E99D1}"/>
              </a:ext>
            </a:extLst>
          </p:cNvPr>
          <p:cNvSpPr>
            <a:spLocks noGrp="1"/>
          </p:cNvSpPr>
          <p:nvPr>
            <p:ph type="body" sz="quarter" idx="500"/>
          </p:nvPr>
        </p:nvSpPr>
        <p:spPr>
          <a:xfrm>
            <a:off x="5508172" y="5659793"/>
            <a:ext cx="3194988" cy="218494"/>
          </a:xfrm>
        </p:spPr>
        <p:txBody>
          <a:bodyPr/>
          <a:lstStyle/>
          <a:p>
            <a:r>
              <a:rPr lang="en-US" dirty="0"/>
              <a:t>Thomas Jefferson High School for Science and Technology </a:t>
            </a:r>
          </a:p>
        </p:txBody>
      </p:sp>
      <p:sp>
        <p:nvSpPr>
          <p:cNvPr id="7" name="Slide Number Placeholder 6">
            <a:extLst>
              <a:ext uri="{FF2B5EF4-FFF2-40B4-BE49-F238E27FC236}">
                <a16:creationId xmlns:a16="http://schemas.microsoft.com/office/drawing/2014/main" id="{35A996DA-CD78-43FD-B5DD-904B3A0DE5A8}"/>
              </a:ext>
            </a:extLst>
          </p:cNvPr>
          <p:cNvSpPr>
            <a:spLocks noGrp="1"/>
          </p:cNvSpPr>
          <p:nvPr>
            <p:ph type="sldNum" sz="quarter" idx="103"/>
          </p:nvPr>
        </p:nvSpPr>
        <p:spPr/>
        <p:txBody>
          <a:bodyPr/>
          <a:lstStyle/>
          <a:p>
            <a:fld id="{078C017C-E1B9-8443-B047-B08AAA027B45}" type="slidenum">
              <a:rPr lang="en-US" smtClean="0"/>
              <a:pPr/>
              <a:t>2</a:t>
            </a:fld>
            <a:endParaRPr lang="en-US" dirty="0"/>
          </a:p>
        </p:txBody>
      </p:sp>
      <p:sp>
        <p:nvSpPr>
          <p:cNvPr id="11" name="Text Placeholder 10">
            <a:extLst>
              <a:ext uri="{FF2B5EF4-FFF2-40B4-BE49-F238E27FC236}">
                <a16:creationId xmlns:a16="http://schemas.microsoft.com/office/drawing/2014/main" id="{6500E627-2D4F-48BF-8918-0A1FB4997651}"/>
              </a:ext>
            </a:extLst>
          </p:cNvPr>
          <p:cNvSpPr>
            <a:spLocks noGrp="1"/>
          </p:cNvSpPr>
          <p:nvPr>
            <p:ph type="body" sz="quarter" idx="200"/>
          </p:nvPr>
        </p:nvSpPr>
        <p:spPr/>
        <p:txBody>
          <a:bodyPr/>
          <a:lstStyle/>
          <a:p>
            <a:pPr lvl="2"/>
            <a:r>
              <a:rPr lang="en-US" sz="1700" dirty="0"/>
              <a:t>Credible and consistent </a:t>
            </a:r>
            <a:r>
              <a:rPr lang="en-US" sz="1700" b="1" dirty="0"/>
              <a:t>labor market data and analysis</a:t>
            </a:r>
            <a:r>
              <a:rPr lang="en-US" sz="1700" dirty="0"/>
              <a:t> to inform policy decisions</a:t>
            </a:r>
          </a:p>
          <a:p>
            <a:pPr lvl="2"/>
            <a:endParaRPr lang="en-US" sz="1700" dirty="0"/>
          </a:p>
          <a:p>
            <a:pPr lvl="2"/>
            <a:r>
              <a:rPr lang="en-US" sz="1700" dirty="0"/>
              <a:t>Data </a:t>
            </a:r>
            <a:r>
              <a:rPr lang="en-US" sz="1700" b="1" dirty="0"/>
              <a:t>on state and federal programs for workforce development and education</a:t>
            </a:r>
          </a:p>
          <a:p>
            <a:pPr marL="0" lvl="2" indent="0">
              <a:buNone/>
            </a:pPr>
            <a:endParaRPr lang="en-US" sz="1700" dirty="0"/>
          </a:p>
          <a:p>
            <a:pPr lvl="2"/>
            <a:r>
              <a:rPr lang="en-US" sz="1700" dirty="0"/>
              <a:t>More </a:t>
            </a:r>
            <a:r>
              <a:rPr lang="en-US" sz="1700" b="1" dirty="0"/>
              <a:t>sustainable funding models for education </a:t>
            </a:r>
            <a:r>
              <a:rPr lang="en-US" sz="1700" dirty="0"/>
              <a:t>(e.g., including more performance-based higher education funding components) </a:t>
            </a:r>
          </a:p>
          <a:p>
            <a:pPr lvl="2"/>
            <a:endParaRPr lang="en-US" sz="1700" dirty="0"/>
          </a:p>
          <a:p>
            <a:pPr lvl="2"/>
            <a:r>
              <a:rPr lang="en-US" sz="1700" dirty="0"/>
              <a:t>Transparent, </a:t>
            </a:r>
            <a:r>
              <a:rPr lang="en-US" sz="1700" b="1" dirty="0"/>
              <a:t>skills- and competency data </a:t>
            </a:r>
          </a:p>
          <a:p>
            <a:pPr marL="0" lvl="2" indent="0">
              <a:buNone/>
            </a:pPr>
            <a:endParaRPr lang="en-US" sz="1700" dirty="0"/>
          </a:p>
          <a:p>
            <a:pPr lvl="2"/>
            <a:r>
              <a:rPr lang="en-US" sz="1700" b="1" dirty="0"/>
              <a:t>Improve career navigation </a:t>
            </a:r>
            <a:r>
              <a:rPr lang="en-US" sz="1700" dirty="0"/>
              <a:t>to better guide Virginians through the complex education / training / job landscape</a:t>
            </a:r>
          </a:p>
          <a:p>
            <a:pPr lvl="2"/>
            <a:endParaRPr lang="en-US" sz="1700" dirty="0"/>
          </a:p>
        </p:txBody>
      </p:sp>
    </p:spTree>
    <p:extLst>
      <p:ext uri="{BB962C8B-B14F-4D97-AF65-F5344CB8AC3E}">
        <p14:creationId xmlns:p14="http://schemas.microsoft.com/office/powerpoint/2010/main" val="148846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60B9C-1A78-4448-8AB8-599741DA9096}"/>
              </a:ext>
            </a:extLst>
          </p:cNvPr>
          <p:cNvSpPr>
            <a:spLocks noGrp="1"/>
          </p:cNvSpPr>
          <p:nvPr>
            <p:ph type="title"/>
          </p:nvPr>
        </p:nvSpPr>
        <p:spPr/>
        <p:txBody>
          <a:bodyPr/>
          <a:lstStyle/>
          <a:p>
            <a:r>
              <a:rPr lang="en-US" dirty="0"/>
              <a:t>Current Areas of Focus </a:t>
            </a:r>
          </a:p>
        </p:txBody>
      </p:sp>
      <p:sp>
        <p:nvSpPr>
          <p:cNvPr id="13" name="Slide Number Placeholder 12">
            <a:extLst>
              <a:ext uri="{FF2B5EF4-FFF2-40B4-BE49-F238E27FC236}">
                <a16:creationId xmlns:a16="http://schemas.microsoft.com/office/drawing/2014/main" id="{F0E450B7-C621-F143-8506-A275066705F3}"/>
              </a:ext>
            </a:extLst>
          </p:cNvPr>
          <p:cNvSpPr>
            <a:spLocks noGrp="1"/>
          </p:cNvSpPr>
          <p:nvPr>
            <p:ph type="sldNum" sz="quarter" idx="10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3</a:t>
            </a:fld>
            <a:endParaRPr lang="en-US" sz="900" b="1" dirty="0">
              <a:solidFill>
                <a:schemeClr val="accent1"/>
              </a:solidFill>
            </a:endParaRPr>
          </a:p>
        </p:txBody>
      </p:sp>
      <p:pic>
        <p:nvPicPr>
          <p:cNvPr id="35" name="Graphic 34">
            <a:extLst>
              <a:ext uri="{FF2B5EF4-FFF2-40B4-BE49-F238E27FC236}">
                <a16:creationId xmlns:a16="http://schemas.microsoft.com/office/drawing/2014/main" id="{4D5E296B-9F29-4808-917A-A51B55409FB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r="81395"/>
          <a:stretch/>
        </p:blipFill>
        <p:spPr>
          <a:xfrm>
            <a:off x="419207" y="2920137"/>
            <a:ext cx="6075680" cy="1463040"/>
          </a:xfrm>
          <a:custGeom>
            <a:avLst/>
            <a:gdLst>
              <a:gd name="connsiteX0" fmla="*/ 0 w 6075680"/>
              <a:gd name="connsiteY0" fmla="*/ 0 h 1463040"/>
              <a:gd name="connsiteX1" fmla="*/ 6075680 w 6075680"/>
              <a:gd name="connsiteY1" fmla="*/ 0 h 1463040"/>
              <a:gd name="connsiteX2" fmla="*/ 6075680 w 6075680"/>
              <a:gd name="connsiteY2" fmla="*/ 1463040 h 1463040"/>
              <a:gd name="connsiteX3" fmla="*/ 0 w 6075680"/>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6075680" h="1463040">
                <a:moveTo>
                  <a:pt x="0" y="0"/>
                </a:moveTo>
                <a:lnTo>
                  <a:pt x="6075680" y="0"/>
                </a:lnTo>
                <a:lnTo>
                  <a:pt x="6075680" y="1463040"/>
                </a:lnTo>
                <a:lnTo>
                  <a:pt x="0" y="1463040"/>
                </a:lnTo>
                <a:close/>
              </a:path>
            </a:pathLst>
          </a:custGeom>
        </p:spPr>
      </p:pic>
      <p:pic>
        <p:nvPicPr>
          <p:cNvPr id="36" name="Graphic 35">
            <a:extLst>
              <a:ext uri="{FF2B5EF4-FFF2-40B4-BE49-F238E27FC236}">
                <a16:creationId xmlns:a16="http://schemas.microsoft.com/office/drawing/2014/main" id="{A1F0E177-6122-4DA6-A2D0-637E1F6F8D7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r="81177"/>
          <a:stretch/>
        </p:blipFill>
        <p:spPr>
          <a:xfrm>
            <a:off x="461851" y="4676553"/>
            <a:ext cx="6033035" cy="1463040"/>
          </a:xfrm>
          <a:custGeom>
            <a:avLst/>
            <a:gdLst>
              <a:gd name="connsiteX0" fmla="*/ 0 w 6033035"/>
              <a:gd name="connsiteY0" fmla="*/ 0 h 1463040"/>
              <a:gd name="connsiteX1" fmla="*/ 6033035 w 6033035"/>
              <a:gd name="connsiteY1" fmla="*/ 0 h 1463040"/>
              <a:gd name="connsiteX2" fmla="*/ 6033035 w 6033035"/>
              <a:gd name="connsiteY2" fmla="*/ 1463040 h 1463040"/>
              <a:gd name="connsiteX3" fmla="*/ 0 w 6033035"/>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6033035" h="1463040">
                <a:moveTo>
                  <a:pt x="0" y="0"/>
                </a:moveTo>
                <a:lnTo>
                  <a:pt x="6033035" y="0"/>
                </a:lnTo>
                <a:lnTo>
                  <a:pt x="6033035" y="1463040"/>
                </a:lnTo>
                <a:lnTo>
                  <a:pt x="0" y="1463040"/>
                </a:lnTo>
                <a:close/>
              </a:path>
            </a:pathLst>
          </a:custGeom>
        </p:spPr>
      </p:pic>
      <p:pic>
        <p:nvPicPr>
          <p:cNvPr id="37" name="Graphic 36">
            <a:extLst>
              <a:ext uri="{FF2B5EF4-FFF2-40B4-BE49-F238E27FC236}">
                <a16:creationId xmlns:a16="http://schemas.microsoft.com/office/drawing/2014/main" id="{E472CD95-15D6-4BB5-8746-5E6F10A906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r="81800"/>
          <a:stretch>
            <a:fillRect/>
          </a:stretch>
        </p:blipFill>
        <p:spPr>
          <a:xfrm>
            <a:off x="551379" y="1233640"/>
            <a:ext cx="5943506" cy="1463040"/>
          </a:xfrm>
          <a:custGeom>
            <a:avLst/>
            <a:gdLst>
              <a:gd name="connsiteX0" fmla="*/ 0 w 5943506"/>
              <a:gd name="connsiteY0" fmla="*/ 0 h 1463040"/>
              <a:gd name="connsiteX1" fmla="*/ 5943506 w 5943506"/>
              <a:gd name="connsiteY1" fmla="*/ 0 h 1463040"/>
              <a:gd name="connsiteX2" fmla="*/ 5943506 w 5943506"/>
              <a:gd name="connsiteY2" fmla="*/ 1463040 h 1463040"/>
              <a:gd name="connsiteX3" fmla="*/ 0 w 5943506"/>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5943506" h="1463040">
                <a:moveTo>
                  <a:pt x="0" y="0"/>
                </a:moveTo>
                <a:lnTo>
                  <a:pt x="5943506" y="0"/>
                </a:lnTo>
                <a:lnTo>
                  <a:pt x="5943506" y="1463040"/>
                </a:lnTo>
                <a:lnTo>
                  <a:pt x="0" y="1463040"/>
                </a:lnTo>
                <a:close/>
              </a:path>
            </a:pathLst>
          </a:custGeom>
        </p:spPr>
      </p:pic>
      <p:sp>
        <p:nvSpPr>
          <p:cNvPr id="38" name="Text Placeholder 2">
            <a:extLst>
              <a:ext uri="{FF2B5EF4-FFF2-40B4-BE49-F238E27FC236}">
                <a16:creationId xmlns:a16="http://schemas.microsoft.com/office/drawing/2014/main" id="{316D5F5A-70D9-465A-A524-55FD3C172537}"/>
              </a:ext>
            </a:extLst>
          </p:cNvPr>
          <p:cNvSpPr txBox="1">
            <a:spLocks/>
          </p:cNvSpPr>
          <p:nvPr/>
        </p:nvSpPr>
        <p:spPr>
          <a:xfrm>
            <a:off x="1779642" y="1227685"/>
            <a:ext cx="4834527" cy="1468996"/>
          </a:xfrm>
          <a:prstGeom prst="rect">
            <a:avLst/>
          </a:prstGeom>
        </p:spPr>
        <p:txBody>
          <a:bodyPr lIns="91440" tIns="45720" rIns="91440" bIns="45720" anchor="ctr" anchorCtr="0"/>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dirty="0">
              <a:solidFill>
                <a:schemeClr val="bg1"/>
              </a:solidFill>
              <a:cs typeface="Arial"/>
            </a:endParaRPr>
          </a:p>
          <a:p>
            <a:pPr lvl="1"/>
            <a:endParaRPr lang="en-US" dirty="0">
              <a:solidFill>
                <a:schemeClr val="bg1"/>
              </a:solidFill>
            </a:endParaRPr>
          </a:p>
        </p:txBody>
      </p:sp>
      <p:sp>
        <p:nvSpPr>
          <p:cNvPr id="39" name="Text Placeholder 2">
            <a:extLst>
              <a:ext uri="{FF2B5EF4-FFF2-40B4-BE49-F238E27FC236}">
                <a16:creationId xmlns:a16="http://schemas.microsoft.com/office/drawing/2014/main" id="{ED5B3FFA-2A89-4DB9-A72C-BC1816ACAB38}"/>
              </a:ext>
            </a:extLst>
          </p:cNvPr>
          <p:cNvSpPr txBox="1">
            <a:spLocks/>
          </p:cNvSpPr>
          <p:nvPr/>
        </p:nvSpPr>
        <p:spPr>
          <a:xfrm>
            <a:off x="1791564" y="2917100"/>
            <a:ext cx="4703321" cy="1477535"/>
          </a:xfrm>
          <a:prstGeom prst="rect">
            <a:avLst/>
          </a:prstGeom>
        </p:spPr>
        <p:txBody>
          <a:bodyPr vert="horz" lIns="91440" tIns="45720" rIns="91440" bIns="45720" rtlCol="0" anchor="ctr" anchorCtr="0">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dirty="0">
              <a:solidFill>
                <a:schemeClr val="bg1"/>
              </a:solidFill>
              <a:cs typeface="Arial"/>
            </a:endParaRPr>
          </a:p>
          <a:p>
            <a:pPr lvl="1"/>
            <a:endParaRPr lang="en-US" dirty="0">
              <a:solidFill>
                <a:schemeClr val="bg1"/>
              </a:solidFill>
              <a:cs typeface="Arial"/>
            </a:endParaRPr>
          </a:p>
        </p:txBody>
      </p:sp>
      <p:sp>
        <p:nvSpPr>
          <p:cNvPr id="40" name="Text Placeholder 2">
            <a:extLst>
              <a:ext uri="{FF2B5EF4-FFF2-40B4-BE49-F238E27FC236}">
                <a16:creationId xmlns:a16="http://schemas.microsoft.com/office/drawing/2014/main" id="{43B9709A-7CCE-428F-B8B9-6B50DA337D0E}"/>
              </a:ext>
            </a:extLst>
          </p:cNvPr>
          <p:cNvSpPr txBox="1">
            <a:spLocks/>
          </p:cNvSpPr>
          <p:nvPr/>
        </p:nvSpPr>
        <p:spPr>
          <a:xfrm>
            <a:off x="1791564" y="4673516"/>
            <a:ext cx="4703321" cy="1463040"/>
          </a:xfrm>
          <a:prstGeom prst="rect">
            <a:avLst/>
          </a:prstGeom>
        </p:spPr>
        <p:txBody>
          <a:bodyPr vert="horz" lIns="91440" tIns="45720" rIns="91440" bIns="45720" rtlCol="0" anchor="ctr" anchorCtr="0">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dirty="0">
              <a:solidFill>
                <a:schemeClr val="bg1"/>
              </a:solidFill>
              <a:cs typeface="Arial"/>
            </a:endParaRPr>
          </a:p>
          <a:p>
            <a:pPr lvl="1"/>
            <a:endParaRPr lang="en-US" dirty="0">
              <a:solidFill>
                <a:schemeClr val="bg1"/>
              </a:solidFill>
              <a:cs typeface="Arial"/>
            </a:endParaRPr>
          </a:p>
        </p:txBody>
      </p:sp>
      <p:pic>
        <p:nvPicPr>
          <p:cNvPr id="41" name="Picture Placeholder 11" descr="A picture containing text&#10;&#10;Description automatically generated">
            <a:extLst>
              <a:ext uri="{FF2B5EF4-FFF2-40B4-BE49-F238E27FC236}">
                <a16:creationId xmlns:a16="http://schemas.microsoft.com/office/drawing/2014/main" id="{28212628-EE5B-4F48-9F54-428EB714564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26"/>
          <a:stretch/>
        </p:blipFill>
        <p:spPr>
          <a:xfrm>
            <a:off x="6614170" y="1230722"/>
            <a:ext cx="2172295" cy="1466077"/>
          </a:xfrm>
          <a:prstGeom prst="rect">
            <a:avLst/>
          </a:prstGeom>
          <a:solidFill>
            <a:schemeClr val="accent2"/>
          </a:solidFill>
        </p:spPr>
      </p:pic>
      <p:pic>
        <p:nvPicPr>
          <p:cNvPr id="42" name="Picture 3">
            <a:extLst>
              <a:ext uri="{FF2B5EF4-FFF2-40B4-BE49-F238E27FC236}">
                <a16:creationId xmlns:a16="http://schemas.microsoft.com/office/drawing/2014/main" id="{2535FBFB-4984-4F17-9A70-C78432E25F74}"/>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6614170" y="2928558"/>
            <a:ext cx="2172295" cy="1466077"/>
          </a:xfrm>
          <a:prstGeom prst="rect">
            <a:avLst/>
          </a:prstGeom>
        </p:spPr>
      </p:pic>
      <p:pic>
        <p:nvPicPr>
          <p:cNvPr id="43" name="Picture 16" descr="A picture containing person, person, indoor, working&#10;&#10;Description automatically generated">
            <a:extLst>
              <a:ext uri="{FF2B5EF4-FFF2-40B4-BE49-F238E27FC236}">
                <a16:creationId xmlns:a16="http://schemas.microsoft.com/office/drawing/2014/main" id="{47731593-0EA0-4AAC-948E-70E37C45FCE6}"/>
              </a:ext>
            </a:extLst>
          </p:cNvPr>
          <p:cNvPicPr>
            <a:picLocks noChangeAspect="1"/>
          </p:cNvPicPr>
          <p:nvPr/>
        </p:nvPicPr>
        <p:blipFill rotWithShape="1">
          <a:blip r:embed="rId11">
            <a:extLst>
              <a:ext uri="{28A0092B-C50C-407E-A947-70E740481C1C}">
                <a14:useLocalDpi xmlns:a14="http://schemas.microsoft.com/office/drawing/2010/main"/>
              </a:ext>
            </a:extLst>
          </a:blip>
          <a:srcRect/>
          <a:stretch/>
        </p:blipFill>
        <p:spPr>
          <a:xfrm>
            <a:off x="6614170" y="4675645"/>
            <a:ext cx="2167795" cy="1463040"/>
          </a:xfrm>
          <a:prstGeom prst="rect">
            <a:avLst/>
          </a:prstGeom>
        </p:spPr>
      </p:pic>
      <p:sp>
        <p:nvSpPr>
          <p:cNvPr id="3" name="TextBox 2">
            <a:extLst>
              <a:ext uri="{FF2B5EF4-FFF2-40B4-BE49-F238E27FC236}">
                <a16:creationId xmlns:a16="http://schemas.microsoft.com/office/drawing/2014/main" id="{4B277FC1-3086-4723-8577-EE614C81C957}"/>
              </a:ext>
            </a:extLst>
          </p:cNvPr>
          <p:cNvSpPr txBox="1"/>
          <p:nvPr/>
        </p:nvSpPr>
        <p:spPr>
          <a:xfrm>
            <a:off x="1328058" y="1495801"/>
            <a:ext cx="5225110"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b="1" dirty="0">
              <a:solidFill>
                <a:srgbClr val="FFFFFF"/>
              </a:solidFill>
              <a:ea typeface="Arial" charset="0"/>
              <a:cs typeface="Segoe UI"/>
            </a:endParaRPr>
          </a:p>
          <a:p>
            <a:r>
              <a:rPr lang="en-US" sz="1600" b="1" dirty="0">
                <a:solidFill>
                  <a:srgbClr val="FFFFFF"/>
                </a:solidFill>
                <a:ea typeface="Arial" charset="0"/>
                <a:cs typeface="Segoe UI"/>
              </a:rPr>
              <a:t>Virginia State-Wide Supply-Demand Comprehensive Labor Market Data Analysis</a:t>
            </a:r>
            <a:r>
              <a:rPr lang="en-US" sz="1600" dirty="0">
                <a:ea typeface="Arial" charset="0"/>
                <a:cs typeface="Segoe UI"/>
              </a:rPr>
              <a:t>​</a:t>
            </a:r>
            <a:endParaRPr lang="en-US" sz="1600" dirty="0">
              <a:cs typeface="Arial" panose="020B0604020202020204"/>
            </a:endParaRPr>
          </a:p>
        </p:txBody>
      </p:sp>
      <p:sp>
        <p:nvSpPr>
          <p:cNvPr id="5" name="TextBox 4">
            <a:extLst>
              <a:ext uri="{FF2B5EF4-FFF2-40B4-BE49-F238E27FC236}">
                <a16:creationId xmlns:a16="http://schemas.microsoft.com/office/drawing/2014/main" id="{A7937C80-70B2-4C24-B0E0-A2B008289C43}"/>
              </a:ext>
            </a:extLst>
          </p:cNvPr>
          <p:cNvSpPr txBox="1"/>
          <p:nvPr/>
        </p:nvSpPr>
        <p:spPr>
          <a:xfrm>
            <a:off x="1480881" y="4869756"/>
            <a:ext cx="4919464"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dirty="0">
                <a:solidFill>
                  <a:srgbClr val="FFFFFF"/>
                </a:solidFill>
                <a:ea typeface="Arial" charset="0"/>
                <a:cs typeface="Segoe UI"/>
              </a:rPr>
              <a:t>Other Activities: Virginia Infrastructure Academy, Career Navigation, Legislative Mandates</a:t>
            </a:r>
          </a:p>
        </p:txBody>
      </p:sp>
      <p:sp>
        <p:nvSpPr>
          <p:cNvPr id="17" name="TextBox 16">
            <a:extLst>
              <a:ext uri="{FF2B5EF4-FFF2-40B4-BE49-F238E27FC236}">
                <a16:creationId xmlns:a16="http://schemas.microsoft.com/office/drawing/2014/main" id="{5B64C171-4361-4D17-816F-2644E51D52D6}"/>
              </a:ext>
            </a:extLst>
          </p:cNvPr>
          <p:cNvSpPr txBox="1"/>
          <p:nvPr/>
        </p:nvSpPr>
        <p:spPr>
          <a:xfrm>
            <a:off x="1499383" y="3043480"/>
            <a:ext cx="4845422" cy="646331"/>
          </a:xfrm>
          <a:prstGeom prst="rect">
            <a:avLst/>
          </a:prstGeom>
          <a:noFill/>
        </p:spPr>
        <p:txBody>
          <a:bodyPr wrap="square">
            <a:spAutoFit/>
          </a:bodyPr>
          <a:lstStyle/>
          <a:p>
            <a:endParaRPr lang="en-US" sz="1800" b="1" dirty="0">
              <a:solidFill>
                <a:srgbClr val="FFFFFF"/>
              </a:solidFill>
              <a:ea typeface="Arial" charset="0"/>
              <a:cs typeface="Segoe UI"/>
            </a:endParaRPr>
          </a:p>
          <a:p>
            <a:r>
              <a:rPr lang="en-US" sz="1800" b="1" dirty="0">
                <a:solidFill>
                  <a:srgbClr val="FFFFFF"/>
                </a:solidFill>
                <a:ea typeface="Arial" charset="0"/>
                <a:cs typeface="Segoe UI"/>
              </a:rPr>
              <a:t>Virginia Skills Initiative</a:t>
            </a:r>
            <a:r>
              <a:rPr lang="en-US" sz="1800" dirty="0">
                <a:solidFill>
                  <a:srgbClr val="FFFFFF"/>
                </a:solidFill>
                <a:ea typeface="Arial" charset="0"/>
                <a:cs typeface="Segoe UI"/>
              </a:rPr>
              <a:t> </a:t>
            </a:r>
          </a:p>
        </p:txBody>
      </p:sp>
    </p:spTree>
    <p:extLst>
      <p:ext uri="{BB962C8B-B14F-4D97-AF65-F5344CB8AC3E}">
        <p14:creationId xmlns:p14="http://schemas.microsoft.com/office/powerpoint/2010/main" val="906512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
            <a:extLst>
              <a:ext uri="{FF2B5EF4-FFF2-40B4-BE49-F238E27FC236}">
                <a16:creationId xmlns:a16="http://schemas.microsoft.com/office/drawing/2014/main" id="{C0D60366-C38C-24C7-A92F-363DD6332B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1381158"/>
            <a:ext cx="8280400" cy="4637024"/>
          </a:xfrm>
          <a:prstGeom prst="rect">
            <a:avLst/>
          </a:prstGeom>
          <a:noFill/>
        </p:spPr>
      </p:pic>
      <p:sp>
        <p:nvSpPr>
          <p:cNvPr id="2" name="Title 1">
            <a:extLst>
              <a:ext uri="{FF2B5EF4-FFF2-40B4-BE49-F238E27FC236}">
                <a16:creationId xmlns:a16="http://schemas.microsoft.com/office/drawing/2014/main" id="{5DDB453E-2B04-A27F-B642-F2434BBB3286}"/>
              </a:ext>
            </a:extLst>
          </p:cNvPr>
          <p:cNvSpPr>
            <a:spLocks noGrp="1"/>
          </p:cNvSpPr>
          <p:nvPr>
            <p:ph type="title"/>
          </p:nvPr>
        </p:nvSpPr>
        <p:spPr>
          <a:xfrm>
            <a:off x="431800" y="423038"/>
            <a:ext cx="8280400" cy="567394"/>
          </a:xfrm>
        </p:spPr>
        <p:txBody>
          <a:bodyPr anchor="b">
            <a:normAutofit/>
          </a:bodyPr>
          <a:lstStyle/>
          <a:p>
            <a:r>
              <a:rPr lang="en-US" dirty="0"/>
              <a:t>Graduate Supply Demand Dashboard</a:t>
            </a:r>
          </a:p>
        </p:txBody>
      </p:sp>
      <p:sp>
        <p:nvSpPr>
          <p:cNvPr id="11" name="Subtitle 3">
            <a:extLst>
              <a:ext uri="{FF2B5EF4-FFF2-40B4-BE49-F238E27FC236}">
                <a16:creationId xmlns:a16="http://schemas.microsoft.com/office/drawing/2014/main" id="{CB04E158-B84E-ADD6-6FD0-347860BA0B39}"/>
              </a:ext>
            </a:extLst>
          </p:cNvPr>
          <p:cNvSpPr>
            <a:spLocks noGrp="1"/>
          </p:cNvSpPr>
          <p:nvPr>
            <p:ph type="subTitle" sz="quarter" idx="1000"/>
          </p:nvPr>
        </p:nvSpPr>
        <p:spPr>
          <a:xfrm>
            <a:off x="431799" y="6200775"/>
            <a:ext cx="7440613" cy="505508"/>
          </a:xfrm>
        </p:spPr>
        <p:txBody>
          <a:bodyPr/>
          <a:lstStyle/>
          <a:p>
            <a:endParaRPr lang="en-US"/>
          </a:p>
        </p:txBody>
      </p:sp>
      <p:sp>
        <p:nvSpPr>
          <p:cNvPr id="4" name="Slide Number Placeholder 3">
            <a:extLst>
              <a:ext uri="{FF2B5EF4-FFF2-40B4-BE49-F238E27FC236}">
                <a16:creationId xmlns:a16="http://schemas.microsoft.com/office/drawing/2014/main" id="{70C5BF73-4D87-EF83-DA8E-1F5451A724A2}"/>
              </a:ext>
            </a:extLst>
          </p:cNvPr>
          <p:cNvSpPr>
            <a:spLocks noGrp="1"/>
          </p:cNvSpPr>
          <p:nvPr>
            <p:ph type="sldNum" sz="quarter" idx="107"/>
          </p:nvPr>
        </p:nvSpPr>
        <p:spPr>
          <a:xfrm>
            <a:off x="8790039" y="6516148"/>
            <a:ext cx="350454" cy="174625"/>
          </a:xfrm>
        </p:spPr>
        <p:txBody>
          <a:bodyPr wrap="square" anchor="ctr">
            <a:normAutofit/>
          </a:bodyPr>
          <a:lstStyle/>
          <a:p>
            <a:pPr marL="12700">
              <a:spcAft>
                <a:spcPts val="600"/>
              </a:spcAft>
            </a:pPr>
            <a:fld id="{078C017C-E1B9-8443-B047-B08AAA027B45}" type="slidenum">
              <a:rPr lang="en-US" smtClean="0"/>
              <a:pPr marL="12700">
                <a:spcAft>
                  <a:spcPts val="600"/>
                </a:spcAft>
              </a:pPr>
              <a:t>4</a:t>
            </a:fld>
            <a:endParaRPr lang="en-US"/>
          </a:p>
        </p:txBody>
      </p:sp>
    </p:spTree>
    <p:extLst>
      <p:ext uri="{BB962C8B-B14F-4D97-AF65-F5344CB8AC3E}">
        <p14:creationId xmlns:p14="http://schemas.microsoft.com/office/powerpoint/2010/main" val="2401837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Graphical user interface, text, application&#10;&#10;Description automatically generated">
            <a:extLst>
              <a:ext uri="{FF2B5EF4-FFF2-40B4-BE49-F238E27FC236}">
                <a16:creationId xmlns:a16="http://schemas.microsoft.com/office/drawing/2014/main" id="{AA1F2E31-1FBA-3D84-6698-4DF906AE5AC6}"/>
              </a:ext>
            </a:extLst>
          </p:cNvPr>
          <p:cNvPicPr>
            <a:picLocks noGrp="1" noChangeAspect="1"/>
          </p:cNvPicPr>
          <p:nvPr>
            <p:ph sz="quarter" idx="200"/>
          </p:nvPr>
        </p:nvPicPr>
        <p:blipFill>
          <a:blip r:embed="rId2">
            <a:extLst>
              <a:ext uri="{28A0092B-C50C-407E-A947-70E740481C1C}">
                <a14:useLocalDpi xmlns:a14="http://schemas.microsoft.com/office/drawing/2010/main" val="0"/>
              </a:ext>
            </a:extLst>
          </a:blip>
          <a:stretch>
            <a:fillRect/>
          </a:stretch>
        </p:blipFill>
        <p:spPr>
          <a:xfrm>
            <a:off x="431800" y="1380192"/>
            <a:ext cx="8280400" cy="4638954"/>
          </a:xfrm>
        </p:spPr>
      </p:pic>
      <p:sp>
        <p:nvSpPr>
          <p:cNvPr id="3" name="Title 2">
            <a:extLst>
              <a:ext uri="{FF2B5EF4-FFF2-40B4-BE49-F238E27FC236}">
                <a16:creationId xmlns:a16="http://schemas.microsoft.com/office/drawing/2014/main" id="{7D2224C8-C8EF-E5A0-720F-9139609C019B}"/>
              </a:ext>
            </a:extLst>
          </p:cNvPr>
          <p:cNvSpPr>
            <a:spLocks noGrp="1"/>
          </p:cNvSpPr>
          <p:nvPr>
            <p:ph type="title"/>
          </p:nvPr>
        </p:nvSpPr>
        <p:spPr/>
        <p:txBody>
          <a:bodyPr/>
          <a:lstStyle/>
          <a:p>
            <a:r>
              <a:rPr lang="en-US" dirty="0"/>
              <a:t>Graduate supply demand dashboard</a:t>
            </a:r>
          </a:p>
        </p:txBody>
      </p:sp>
      <p:sp>
        <p:nvSpPr>
          <p:cNvPr id="4" name="Subtitle 3">
            <a:extLst>
              <a:ext uri="{FF2B5EF4-FFF2-40B4-BE49-F238E27FC236}">
                <a16:creationId xmlns:a16="http://schemas.microsoft.com/office/drawing/2014/main" id="{79FAEBEA-06F0-D20C-8AFF-8C4FAFF675D2}"/>
              </a:ext>
            </a:extLst>
          </p:cNvPr>
          <p:cNvSpPr>
            <a:spLocks noGrp="1"/>
          </p:cNvSpPr>
          <p:nvPr>
            <p:ph type="subTitle" sz="quarter" idx="1000"/>
          </p:nvPr>
        </p:nvSpPr>
        <p:spPr/>
        <p:txBody>
          <a:bodyPr/>
          <a:lstStyle/>
          <a:p>
            <a:endParaRPr lang="en-US"/>
          </a:p>
        </p:txBody>
      </p:sp>
      <p:sp>
        <p:nvSpPr>
          <p:cNvPr id="5" name="Slide Number Placeholder 4">
            <a:extLst>
              <a:ext uri="{FF2B5EF4-FFF2-40B4-BE49-F238E27FC236}">
                <a16:creationId xmlns:a16="http://schemas.microsoft.com/office/drawing/2014/main" id="{551E409F-BA73-C339-6452-B05715C4467A}"/>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5</a:t>
            </a:fld>
            <a:endParaRPr lang="en-US" sz="900" b="1" dirty="0">
              <a:solidFill>
                <a:schemeClr val="accent1"/>
              </a:solidFill>
            </a:endParaRPr>
          </a:p>
        </p:txBody>
      </p:sp>
    </p:spTree>
    <p:extLst>
      <p:ext uri="{BB962C8B-B14F-4D97-AF65-F5344CB8AC3E}">
        <p14:creationId xmlns:p14="http://schemas.microsoft.com/office/powerpoint/2010/main" val="496953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Graphical user interface, application&#10;&#10;Description automatically generated">
            <a:extLst>
              <a:ext uri="{FF2B5EF4-FFF2-40B4-BE49-F238E27FC236}">
                <a16:creationId xmlns:a16="http://schemas.microsoft.com/office/drawing/2014/main" id="{FD522A90-6DB4-412A-D49D-8AB5B4DE7A0D}"/>
              </a:ext>
            </a:extLst>
          </p:cNvPr>
          <p:cNvPicPr>
            <a:picLocks noGrp="1" noChangeAspect="1"/>
          </p:cNvPicPr>
          <p:nvPr>
            <p:ph sz="quarter" idx="200"/>
          </p:nvPr>
        </p:nvPicPr>
        <p:blipFill>
          <a:blip r:embed="rId2">
            <a:extLst>
              <a:ext uri="{28A0092B-C50C-407E-A947-70E740481C1C}">
                <a14:useLocalDpi xmlns:a14="http://schemas.microsoft.com/office/drawing/2010/main" val="0"/>
              </a:ext>
            </a:extLst>
          </a:blip>
          <a:stretch>
            <a:fillRect/>
          </a:stretch>
        </p:blipFill>
        <p:spPr>
          <a:xfrm>
            <a:off x="431800" y="1380192"/>
            <a:ext cx="8280400" cy="4638954"/>
          </a:xfrm>
        </p:spPr>
      </p:pic>
      <p:sp>
        <p:nvSpPr>
          <p:cNvPr id="3" name="Title 2">
            <a:extLst>
              <a:ext uri="{FF2B5EF4-FFF2-40B4-BE49-F238E27FC236}">
                <a16:creationId xmlns:a16="http://schemas.microsoft.com/office/drawing/2014/main" id="{039D4210-86ED-36C5-02DC-D99A1AE7785C}"/>
              </a:ext>
            </a:extLst>
          </p:cNvPr>
          <p:cNvSpPr>
            <a:spLocks noGrp="1"/>
          </p:cNvSpPr>
          <p:nvPr>
            <p:ph type="title"/>
          </p:nvPr>
        </p:nvSpPr>
        <p:spPr/>
        <p:txBody>
          <a:bodyPr/>
          <a:lstStyle/>
          <a:p>
            <a:r>
              <a:rPr lang="en-US" dirty="0"/>
              <a:t>Graduate Supply Demand Dashboard</a:t>
            </a:r>
          </a:p>
        </p:txBody>
      </p:sp>
      <p:sp>
        <p:nvSpPr>
          <p:cNvPr id="4" name="Subtitle 3">
            <a:extLst>
              <a:ext uri="{FF2B5EF4-FFF2-40B4-BE49-F238E27FC236}">
                <a16:creationId xmlns:a16="http://schemas.microsoft.com/office/drawing/2014/main" id="{05037346-E7A6-C76D-110F-57B38F27B675}"/>
              </a:ext>
            </a:extLst>
          </p:cNvPr>
          <p:cNvSpPr>
            <a:spLocks noGrp="1"/>
          </p:cNvSpPr>
          <p:nvPr>
            <p:ph type="subTitle" sz="quarter" idx="1000"/>
          </p:nvPr>
        </p:nvSpPr>
        <p:spPr/>
        <p:txBody>
          <a:bodyPr/>
          <a:lstStyle/>
          <a:p>
            <a:endParaRPr lang="en-US"/>
          </a:p>
        </p:txBody>
      </p:sp>
      <p:sp>
        <p:nvSpPr>
          <p:cNvPr id="5" name="Slide Number Placeholder 4">
            <a:extLst>
              <a:ext uri="{FF2B5EF4-FFF2-40B4-BE49-F238E27FC236}">
                <a16:creationId xmlns:a16="http://schemas.microsoft.com/office/drawing/2014/main" id="{F7C9828E-3B49-4364-E310-E0CD01FB22EB}"/>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6</a:t>
            </a:fld>
            <a:endParaRPr lang="en-US" sz="900" b="1" dirty="0">
              <a:solidFill>
                <a:schemeClr val="accent1"/>
              </a:solidFill>
            </a:endParaRPr>
          </a:p>
        </p:txBody>
      </p:sp>
    </p:spTree>
    <p:extLst>
      <p:ext uri="{BB962C8B-B14F-4D97-AF65-F5344CB8AC3E}">
        <p14:creationId xmlns:p14="http://schemas.microsoft.com/office/powerpoint/2010/main" val="3254488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2744F-72D3-3B36-95B9-760B16611502}"/>
              </a:ext>
            </a:extLst>
          </p:cNvPr>
          <p:cNvSpPr>
            <a:spLocks noGrp="1"/>
          </p:cNvSpPr>
          <p:nvPr>
            <p:ph type="title"/>
          </p:nvPr>
        </p:nvSpPr>
        <p:spPr/>
        <p:txBody>
          <a:bodyPr/>
          <a:lstStyle/>
          <a:p>
            <a:r>
              <a:rPr lang="en-US" dirty="0"/>
              <a:t>Graduate Supply Demand Dashboard</a:t>
            </a:r>
          </a:p>
        </p:txBody>
      </p:sp>
      <p:sp>
        <p:nvSpPr>
          <p:cNvPr id="3" name="Subtitle 2">
            <a:extLst>
              <a:ext uri="{FF2B5EF4-FFF2-40B4-BE49-F238E27FC236}">
                <a16:creationId xmlns:a16="http://schemas.microsoft.com/office/drawing/2014/main" id="{CC618849-4161-7CBE-635A-F32A339E25EF}"/>
              </a:ext>
            </a:extLst>
          </p:cNvPr>
          <p:cNvSpPr>
            <a:spLocks noGrp="1"/>
          </p:cNvSpPr>
          <p:nvPr>
            <p:ph type="subTitle" sz="quarter" idx="1000"/>
          </p:nvPr>
        </p:nvSpPr>
        <p:spPr/>
        <p:txBody>
          <a:bodyPr/>
          <a:lstStyle/>
          <a:p>
            <a:endParaRPr lang="en-US"/>
          </a:p>
        </p:txBody>
      </p:sp>
      <p:sp>
        <p:nvSpPr>
          <p:cNvPr id="4" name="Slide Number Placeholder 3">
            <a:extLst>
              <a:ext uri="{FF2B5EF4-FFF2-40B4-BE49-F238E27FC236}">
                <a16:creationId xmlns:a16="http://schemas.microsoft.com/office/drawing/2014/main" id="{891A44FC-BF04-B3A7-4CF6-E6CAA661ECFC}"/>
              </a:ext>
            </a:extLst>
          </p:cNvPr>
          <p:cNvSpPr>
            <a:spLocks noGrp="1"/>
          </p:cNvSpPr>
          <p:nvPr>
            <p:ph type="sldNum" sz="quarter" idx="1003"/>
          </p:nvPr>
        </p:nvSpPr>
        <p:spPr/>
        <p:txBody>
          <a:bodyPr/>
          <a:lstStyle/>
          <a:p>
            <a:pPr marL="12700"/>
            <a:fld id="{078C017C-E1B9-8443-B047-B08AAA027B45}" type="slidenum">
              <a:rPr lang="en-US" smtClean="0"/>
              <a:pPr marL="12700"/>
              <a:t>7</a:t>
            </a:fld>
            <a:endParaRPr lang="en-US" dirty="0"/>
          </a:p>
        </p:txBody>
      </p:sp>
      <p:pic>
        <p:nvPicPr>
          <p:cNvPr id="7" name="Picture 6" descr="Graphical user interface, text, application, email">
            <a:extLst>
              <a:ext uri="{FF2B5EF4-FFF2-40B4-BE49-F238E27FC236}">
                <a16:creationId xmlns:a16="http://schemas.microsoft.com/office/drawing/2014/main" id="{31C8F46C-ACF4-8365-BB50-DAAD137D82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19311"/>
            <a:ext cx="9144000" cy="4619378"/>
          </a:xfrm>
          <a:prstGeom prst="rect">
            <a:avLst/>
          </a:prstGeom>
        </p:spPr>
      </p:pic>
    </p:spTree>
    <p:extLst>
      <p:ext uri="{BB962C8B-B14F-4D97-AF65-F5344CB8AC3E}">
        <p14:creationId xmlns:p14="http://schemas.microsoft.com/office/powerpoint/2010/main" val="3926138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9127F4-D241-4353-AFA7-E9DC18ED87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69127F4-D241-4353-AFA7-E9DC18ED87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21">
            <a:extLst>
              <a:ext uri="{FF2B5EF4-FFF2-40B4-BE49-F238E27FC236}">
                <a16:creationId xmlns:a16="http://schemas.microsoft.com/office/drawing/2014/main" id="{0709ED5A-D98D-43D1-AD99-B46D903BDFB9}"/>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2878" b="2878"/>
          <a:stretch/>
        </p:blipFill>
        <p:spPr>
          <a:xfrm>
            <a:off x="10756" y="1112838"/>
            <a:ext cx="9144001" cy="5745162"/>
          </a:xfrm>
        </p:spPr>
      </p:pic>
      <p:sp>
        <p:nvSpPr>
          <p:cNvPr id="12" name="Text Placeholder 11"/>
          <p:cNvSpPr>
            <a:spLocks noGrp="1"/>
          </p:cNvSpPr>
          <p:nvPr>
            <p:ph type="body" sz="quarter" idx="200"/>
          </p:nvPr>
        </p:nvSpPr>
        <p:spPr>
          <a:xfrm>
            <a:off x="1" y="1112838"/>
            <a:ext cx="4421392" cy="5745162"/>
          </a:xfrm>
        </p:spPr>
        <p:txBody>
          <a:bodyPr/>
          <a:lstStyle/>
          <a:p>
            <a:r>
              <a:rPr lang="en-US" dirty="0"/>
              <a:t> </a:t>
            </a:r>
          </a:p>
        </p:txBody>
      </p:sp>
      <p:sp>
        <p:nvSpPr>
          <p:cNvPr id="6" name="Title 5">
            <a:extLst>
              <a:ext uri="{FF2B5EF4-FFF2-40B4-BE49-F238E27FC236}">
                <a16:creationId xmlns:a16="http://schemas.microsoft.com/office/drawing/2014/main" id="{9C396C43-A5B4-4225-A7AD-86B9357424DA}"/>
              </a:ext>
            </a:extLst>
          </p:cNvPr>
          <p:cNvSpPr>
            <a:spLocks noGrp="1"/>
          </p:cNvSpPr>
          <p:nvPr>
            <p:ph type="title"/>
          </p:nvPr>
        </p:nvSpPr>
        <p:spPr>
          <a:xfrm>
            <a:off x="431800" y="401522"/>
            <a:ext cx="8540078" cy="567394"/>
          </a:xfrm>
        </p:spPr>
        <p:txBody>
          <a:bodyPr/>
          <a:lstStyle/>
          <a:p>
            <a:r>
              <a:rPr lang="en-US" dirty="0"/>
              <a:t>VIRGINIA SKILLS &amp; COMPETENCIES Data SETs</a:t>
            </a:r>
          </a:p>
        </p:txBody>
      </p:sp>
      <p:sp>
        <p:nvSpPr>
          <p:cNvPr id="5" name="Slide Number Placeholder 4">
            <a:extLst>
              <a:ext uri="{FF2B5EF4-FFF2-40B4-BE49-F238E27FC236}">
                <a16:creationId xmlns:a16="http://schemas.microsoft.com/office/drawing/2014/main" id="{5DA5890D-EB6F-4D73-9B32-6F4D8C89A2B6}"/>
              </a:ext>
            </a:extLst>
          </p:cNvPr>
          <p:cNvSpPr>
            <a:spLocks noGrp="1"/>
          </p:cNvSpPr>
          <p:nvPr>
            <p:ph type="sldNum" sz="quarter" idx="112"/>
          </p:nvPr>
        </p:nvSpPr>
        <p:spPr/>
        <p:txBody>
          <a:bodyPr/>
          <a:lstStyle/>
          <a:p>
            <a:fld id="{078C017C-E1B9-8443-B047-B08AAA027B45}" type="slidenum">
              <a:rPr lang="en-US" smtClean="0"/>
              <a:pPr/>
              <a:t>8</a:t>
            </a:fld>
            <a:endParaRPr lang="en-US" dirty="0"/>
          </a:p>
        </p:txBody>
      </p:sp>
      <p:sp>
        <p:nvSpPr>
          <p:cNvPr id="16" name="Rectangle 15"/>
          <p:cNvSpPr/>
          <p:nvPr/>
        </p:nvSpPr>
        <p:spPr>
          <a:xfrm>
            <a:off x="139850" y="1199891"/>
            <a:ext cx="4077148" cy="522604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r>
              <a:rPr lang="en-US" sz="1600" dirty="0">
                <a:solidFill>
                  <a:schemeClr val="bg1"/>
                </a:solidFill>
                <a:latin typeface="Arial" panose="020B0604020202020204" pitchFamily="34" charset="0"/>
              </a:rPr>
              <a:t>With dollars through the Workforce Investment and Opportunity Act and in partnership with SCHEV and VCCS – </a:t>
            </a:r>
          </a:p>
          <a:p>
            <a:endParaRPr lang="en-US" sz="1600" dirty="0">
              <a:solidFill>
                <a:schemeClr val="bg1"/>
              </a:solidFill>
              <a:latin typeface="Arial" panose="020B0604020202020204" pitchFamily="34" charset="0"/>
            </a:endParaRPr>
          </a:p>
          <a:p>
            <a:r>
              <a:rPr lang="en-US" sz="1600" dirty="0">
                <a:solidFill>
                  <a:schemeClr val="bg1"/>
                </a:solidFill>
                <a:latin typeface="Arial" panose="020B0604020202020204" pitchFamily="34" charset="0"/>
              </a:rPr>
              <a:t>VOEE will develop two new data sets on skills for Virginia:</a:t>
            </a:r>
            <a:br>
              <a:rPr lang="en-US" sz="1600" dirty="0">
                <a:solidFill>
                  <a:schemeClr val="bg1"/>
                </a:solidFill>
                <a:latin typeface="Arial" panose="020B0604020202020204" pitchFamily="34" charset="0"/>
              </a:rPr>
            </a:br>
            <a:endParaRPr lang="en-US" sz="1600" dirty="0">
              <a:solidFill>
                <a:srgbClr val="FFC000"/>
              </a:solidFill>
              <a:latin typeface="Arial" panose="020B0604020202020204" pitchFamily="34" charset="0"/>
            </a:endParaRPr>
          </a:p>
          <a:p>
            <a:pPr marL="268050" lvl="1" indent="-285750"/>
            <a:r>
              <a:rPr lang="en-US" sz="1600" b="1" dirty="0">
                <a:solidFill>
                  <a:srgbClr val="FFC000"/>
                </a:solidFill>
                <a:latin typeface="Arial" panose="020B0604020202020204" pitchFamily="34" charset="0"/>
              </a:rPr>
              <a:t>ALUMNI TRACKING: </a:t>
            </a:r>
            <a:r>
              <a:rPr lang="en-US" sz="1600" dirty="0">
                <a:solidFill>
                  <a:schemeClr val="bg1"/>
                </a:solidFill>
                <a:latin typeface="Arial" panose="020B0604020202020204" pitchFamily="34" charset="0"/>
              </a:rPr>
              <a:t>Track up to 8 years of graduates from Virginia higher education institutions through social media profiles to collect data on:</a:t>
            </a:r>
          </a:p>
          <a:p>
            <a:pPr marL="552150" lvl="2" indent="-285750"/>
            <a:r>
              <a:rPr lang="en-US" sz="1600" dirty="0">
                <a:solidFill>
                  <a:schemeClr val="bg1"/>
                </a:solidFill>
                <a:latin typeface="Arial" panose="020B0604020202020204" pitchFamily="34" charset="0"/>
              </a:rPr>
              <a:t>Occupation/s</a:t>
            </a:r>
          </a:p>
          <a:p>
            <a:pPr marL="552150" lvl="2" indent="-285750"/>
            <a:r>
              <a:rPr lang="en-US" sz="1600" dirty="0">
                <a:solidFill>
                  <a:schemeClr val="bg1"/>
                </a:solidFill>
                <a:latin typeface="Arial" panose="020B0604020202020204" pitchFamily="34" charset="0"/>
              </a:rPr>
              <a:t>Location</a:t>
            </a:r>
          </a:p>
          <a:p>
            <a:pPr marL="552150" lvl="2" indent="-285750"/>
            <a:r>
              <a:rPr lang="en-US" sz="1600" dirty="0">
                <a:solidFill>
                  <a:schemeClr val="bg1"/>
                </a:solidFill>
                <a:latin typeface="Arial" panose="020B0604020202020204" pitchFamily="34" charset="0"/>
              </a:rPr>
              <a:t>Skills </a:t>
            </a:r>
          </a:p>
          <a:p>
            <a:pPr marL="552150" lvl="2" indent="-285750"/>
            <a:r>
              <a:rPr lang="en-US" sz="1600" dirty="0">
                <a:solidFill>
                  <a:schemeClr val="bg1"/>
                </a:solidFill>
                <a:latin typeface="Arial" panose="020B0604020202020204" pitchFamily="34" charset="0"/>
              </a:rPr>
              <a:t>Non-degree credentials</a:t>
            </a:r>
            <a:br>
              <a:rPr lang="en-US" sz="1600" dirty="0">
                <a:solidFill>
                  <a:schemeClr val="bg1"/>
                </a:solidFill>
                <a:latin typeface="Arial" panose="020B0604020202020204" pitchFamily="34" charset="0"/>
              </a:rPr>
            </a:br>
            <a:endParaRPr lang="en-US" sz="1600" dirty="0">
              <a:solidFill>
                <a:schemeClr val="bg1"/>
              </a:solidFill>
              <a:latin typeface="Arial" panose="020B0604020202020204" pitchFamily="34" charset="0"/>
            </a:endParaRPr>
          </a:p>
          <a:p>
            <a:pPr marL="268050" lvl="1" indent="-285750"/>
            <a:r>
              <a:rPr lang="en-US" sz="1600" b="1" dirty="0">
                <a:solidFill>
                  <a:srgbClr val="FFC000"/>
                </a:solidFill>
                <a:latin typeface="Arial" panose="020B0604020202020204" pitchFamily="34" charset="0"/>
              </a:rPr>
              <a:t>EDUCATIONAL PROGRAMMING: </a:t>
            </a:r>
            <a:r>
              <a:rPr lang="en-US" sz="1600" dirty="0">
                <a:solidFill>
                  <a:schemeClr val="bg1"/>
                </a:solidFill>
                <a:latin typeface="Arial" panose="020B0604020202020204" pitchFamily="34" charset="0"/>
              </a:rPr>
              <a:t>Work with institutions to develop a Virginia specific data set on skills and competencies taught in credit and non-credit programs throughout Virginia.</a:t>
            </a:r>
            <a:br>
              <a:rPr lang="en-US" sz="1500" dirty="0">
                <a:solidFill>
                  <a:schemeClr val="bg1"/>
                </a:solidFill>
                <a:latin typeface="Arial" panose="020B0604020202020204" pitchFamily="34" charset="0"/>
              </a:rPr>
            </a:br>
            <a:endParaRPr lang="en-US" sz="1500" dirty="0">
              <a:solidFill>
                <a:schemeClr val="bg1"/>
              </a:solidFill>
              <a:latin typeface="Arial" panose="020B0604020202020204" pitchFamily="34" charset="0"/>
            </a:endParaRPr>
          </a:p>
        </p:txBody>
      </p:sp>
      <p:sp>
        <p:nvSpPr>
          <p:cNvPr id="8" name="Text Placeholder 7">
            <a:extLst>
              <a:ext uri="{FF2B5EF4-FFF2-40B4-BE49-F238E27FC236}">
                <a16:creationId xmlns:a16="http://schemas.microsoft.com/office/drawing/2014/main" id="{B00AA339-43AD-EF82-6FD3-842EE54299A1}"/>
              </a:ext>
            </a:extLst>
          </p:cNvPr>
          <p:cNvSpPr>
            <a:spLocks noGrp="1"/>
          </p:cNvSpPr>
          <p:nvPr>
            <p:ph type="body" sz="quarter" idx="500"/>
          </p:nvPr>
        </p:nvSpPr>
        <p:spPr/>
        <p:txBody>
          <a:bodyPr/>
          <a:lstStyle/>
          <a:p>
            <a:r>
              <a:rPr lang="en-US" dirty="0"/>
              <a:t>Virginia Highlands Community College </a:t>
            </a:r>
          </a:p>
        </p:txBody>
      </p:sp>
    </p:spTree>
    <p:extLst>
      <p:ext uri="{BB962C8B-B14F-4D97-AF65-F5344CB8AC3E}">
        <p14:creationId xmlns:p14="http://schemas.microsoft.com/office/powerpoint/2010/main" val="2120456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OEE Template_2021.potx" id="{78ADA45D-B509-A64C-83DD-B2E7C44A51A8}" vid="{FC212D22-4131-D249-A86E-537DD7D23B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BBC7014C052CA4591B896206D6EB636" ma:contentTypeVersion="11" ma:contentTypeDescription="Create a new document." ma:contentTypeScope="" ma:versionID="9572def1ec9eb58b44f630ed339d871e">
  <xsd:schema xmlns:xsd="http://www.w3.org/2001/XMLSchema" xmlns:xs="http://www.w3.org/2001/XMLSchema" xmlns:p="http://schemas.microsoft.com/office/2006/metadata/properties" xmlns:ns3="b984d61f-9a10-4eeb-bd28-f0595ce198df" xmlns:ns4="ba19227c-966d-472e-8249-7df76bd75133" targetNamespace="http://schemas.microsoft.com/office/2006/metadata/properties" ma:root="true" ma:fieldsID="b9e0468b6cb730b209092302c8669632" ns3:_="" ns4:_="">
    <xsd:import namespace="b984d61f-9a10-4eeb-bd28-f0595ce198df"/>
    <xsd:import namespace="ba19227c-966d-472e-8249-7df76bd7513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84d61f-9a10-4eeb-bd28-f0595ce198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19227c-966d-472e-8249-7df76bd7513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C75968-B759-48A9-A5AC-39C3A31F6BD7}">
  <ds:schemaRefs>
    <ds:schemaRef ds:uri="http://purl.org/dc/dcmitype/"/>
    <ds:schemaRef ds:uri="http://schemas.microsoft.com/office/2006/metadata/properties"/>
    <ds:schemaRef ds:uri="http://schemas.openxmlformats.org/package/2006/metadata/core-properties"/>
    <ds:schemaRef ds:uri="http://purl.org/dc/elements/1.1/"/>
    <ds:schemaRef ds:uri="http://purl.org/dc/terms/"/>
    <ds:schemaRef ds:uri="http://schemas.microsoft.com/office/2006/documentManagement/types"/>
    <ds:schemaRef ds:uri="http://schemas.microsoft.com/office/infopath/2007/PartnerControls"/>
    <ds:schemaRef ds:uri="ba19227c-966d-472e-8249-7df76bd75133"/>
    <ds:schemaRef ds:uri="b984d61f-9a10-4eeb-bd28-f0595ce198df"/>
    <ds:schemaRef ds:uri="http://www.w3.org/XML/1998/namespace"/>
  </ds:schemaRefs>
</ds:datastoreItem>
</file>

<file path=customXml/itemProps2.xml><?xml version="1.0" encoding="utf-8"?>
<ds:datastoreItem xmlns:ds="http://schemas.openxmlformats.org/officeDocument/2006/customXml" ds:itemID="{13DA6E11-D8F3-4195-9D15-7A369BD779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84d61f-9a10-4eeb-bd28-f0595ce198df"/>
    <ds:schemaRef ds:uri="ba19227c-966d-472e-8249-7df76bd751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6DA93E-EE3F-4F04-A38E-B396F697D5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267</TotalTime>
  <Words>1261</Words>
  <Application>Microsoft Office PowerPoint</Application>
  <PresentationFormat>On-screen Show (4:3)</PresentationFormat>
  <Paragraphs>130</Paragraphs>
  <Slides>13</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Arial Bold</vt:lpstr>
      <vt:lpstr>Calibri</vt:lpstr>
      <vt:lpstr>System Font Regular</vt:lpstr>
      <vt:lpstr>Wingdings</vt:lpstr>
      <vt:lpstr>VEDP - Q2 2020</vt:lpstr>
      <vt:lpstr>think-cell Slide</vt:lpstr>
      <vt:lpstr>Virginia Office  of Education Economics (VOEE) Data Activities </vt:lpstr>
      <vt:lpstr>What we Do</vt:lpstr>
      <vt:lpstr>VOEE WILL ENABLE VIRGINIA TO TACKLE AMBITIOUS CHALLENGES, AS A NATIONAL LEADER ON A NUMBER OF FRONTS</vt:lpstr>
      <vt:lpstr>Current Areas of Focus </vt:lpstr>
      <vt:lpstr>Graduate Supply Demand Dashboard</vt:lpstr>
      <vt:lpstr>Graduate supply demand dashboard</vt:lpstr>
      <vt:lpstr>Graduate Supply Demand Dashboard</vt:lpstr>
      <vt:lpstr>Graduate Supply Demand Dashboard</vt:lpstr>
      <vt:lpstr>VIRGINIA SKILLS &amp; COMPETENCIES Data SETs</vt:lpstr>
      <vt:lpstr>Other Research Activities </vt:lpstr>
      <vt:lpstr>VOEE’s new initiatives from the 2022 General Assembly Sessions (1 of 2)</vt:lpstr>
      <vt:lpstr>VOEE’s new initiatives from the 2022 General Assembly Sessions (2 of 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al, Danni</dc:creator>
  <cp:lastModifiedBy>Hurley, Bethany J (bjh4k)</cp:lastModifiedBy>
  <cp:revision>178</cp:revision>
  <dcterms:created xsi:type="dcterms:W3CDTF">2021-05-25T22:06:37Z</dcterms:created>
  <dcterms:modified xsi:type="dcterms:W3CDTF">2022-09-20T12:3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BC7014C052CA4591B896206D6EB636</vt:lpwstr>
  </property>
</Properties>
</file>